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ov" ContentType="video/quicktime"/>
  <Default Extension="mp4" ContentType="video/mp4"/>
  <Default Extension="png" ContentType="image/png"/>
  <Default Extension="rels" ContentType="application/vnd.openxmlformats-package.relationships+xml"/>
  <Default Extension="svg" ContentType="image/svg+xml"/>
  <Default Extension="tiff" ContentType="image/tiff"/>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3" r:id="rId5"/>
    <p:sldMasterId id="2147483689" r:id="rId6"/>
  </p:sldMasterIdLst>
  <p:notesMasterIdLst>
    <p:notesMasterId r:id="rId44"/>
  </p:notesMasterIdLst>
  <p:handoutMasterIdLst>
    <p:handoutMasterId r:id="rId45"/>
  </p:handoutMasterIdLst>
  <p:sldIdLst>
    <p:sldId id="427" r:id="rId7"/>
    <p:sldId id="4874" r:id="rId8"/>
    <p:sldId id="4853" r:id="rId9"/>
    <p:sldId id="4866" r:id="rId10"/>
    <p:sldId id="319" r:id="rId11"/>
    <p:sldId id="320" r:id="rId12"/>
    <p:sldId id="321" r:id="rId13"/>
    <p:sldId id="322" r:id="rId14"/>
    <p:sldId id="4859" r:id="rId15"/>
    <p:sldId id="418" r:id="rId16"/>
    <p:sldId id="325" r:id="rId17"/>
    <p:sldId id="326" r:id="rId18"/>
    <p:sldId id="327" r:id="rId19"/>
    <p:sldId id="4861" r:id="rId20"/>
    <p:sldId id="329" r:id="rId21"/>
    <p:sldId id="330" r:id="rId22"/>
    <p:sldId id="331" r:id="rId23"/>
    <p:sldId id="4870" r:id="rId24"/>
    <p:sldId id="332" r:id="rId25"/>
    <p:sldId id="333" r:id="rId26"/>
    <p:sldId id="334" r:id="rId27"/>
    <p:sldId id="4872" r:id="rId28"/>
    <p:sldId id="440" r:id="rId29"/>
    <p:sldId id="337" r:id="rId30"/>
    <p:sldId id="444" r:id="rId31"/>
    <p:sldId id="339" r:id="rId32"/>
    <p:sldId id="340" r:id="rId33"/>
    <p:sldId id="341" r:id="rId34"/>
    <p:sldId id="443" r:id="rId35"/>
    <p:sldId id="4857" r:id="rId36"/>
    <p:sldId id="4858" r:id="rId37"/>
    <p:sldId id="441" r:id="rId38"/>
    <p:sldId id="348" r:id="rId39"/>
    <p:sldId id="442" r:id="rId40"/>
    <p:sldId id="345" r:id="rId41"/>
    <p:sldId id="4868" r:id="rId42"/>
    <p:sldId id="4860" r:id="rId43"/>
  </p:sldIdLst>
  <p:sldSz cx="12188825"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8" userDrawn="1">
          <p15:clr>
            <a:srgbClr val="A4A3A4"/>
          </p15:clr>
        </p15:guide>
        <p15:guide id="2" orient="horz" pos="2688" userDrawn="1">
          <p15:clr>
            <a:srgbClr val="A4A3A4"/>
          </p15:clr>
        </p15:guide>
        <p15:guide id="3" pos="2447"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E3E7"/>
    <a:srgbClr val="00BFED"/>
    <a:srgbClr val="CD1F39"/>
    <a:srgbClr val="FF7C13"/>
    <a:srgbClr val="971C93"/>
    <a:srgbClr val="3EC7F4"/>
    <a:srgbClr val="0D6498"/>
    <a:srgbClr val="0078A9"/>
    <a:srgbClr val="FFFFFF"/>
    <a:srgbClr val="FBBA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FB8A5F-B4D9-7CCA-FC68-5CDFEB658789}" v="2" dt="2025-11-13T16:46:13.878"/>
    <p1510:client id="{8ADAFAE0-878B-E976-6506-EC11CDC715E2}" v="1" dt="2025-11-13T16:51:11.2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408"/>
        <p:guide orient="horz" pos="2688"/>
        <p:guide pos="2447"/>
      </p:guideLst>
    </p:cSldViewPr>
  </p:slide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heme" Target="theme/theme1.xml"/><Relationship Id="rId8" Type="http://schemas.openxmlformats.org/officeDocument/2006/relationships/slide" Target="slides/slide2.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emiec, Genna" userId="S::gniemiec@ppg.com::9cfa5726-c570-4213-ae0d-58d457af3a84" providerId="AD" clId="Web-{78F7A31A-C3B4-84A0-C8ED-4CF2CF6FB798}"/>
    <pc:docChg chg="addSld delSld modSld">
      <pc:chgData name="Niemiec, Genna" userId="S::gniemiec@ppg.com::9cfa5726-c570-4213-ae0d-58d457af3a84" providerId="AD" clId="Web-{78F7A31A-C3B4-84A0-C8ED-4CF2CF6FB798}" dt="2025-11-10T19:48:30.812" v="6"/>
      <pc:docMkLst>
        <pc:docMk/>
      </pc:docMkLst>
      <pc:sldChg chg="add del">
        <pc:chgData name="Niemiec, Genna" userId="S::gniemiec@ppg.com::9cfa5726-c570-4213-ae0d-58d457af3a84" providerId="AD" clId="Web-{78F7A31A-C3B4-84A0-C8ED-4CF2CF6FB798}" dt="2025-11-10T19:48:30.812" v="6"/>
        <pc:sldMkLst>
          <pc:docMk/>
          <pc:sldMk cId="2876029837" sldId="4866"/>
        </pc:sldMkLst>
      </pc:sldChg>
      <pc:sldChg chg="modSp add del">
        <pc:chgData name="Niemiec, Genna" userId="S::gniemiec@ppg.com::9cfa5726-c570-4213-ae0d-58d457af3a84" providerId="AD" clId="Web-{78F7A31A-C3B4-84A0-C8ED-4CF2CF6FB798}" dt="2025-11-10T18:59:56.415" v="3"/>
        <pc:sldMkLst>
          <pc:docMk/>
          <pc:sldMk cId="249492725" sldId="4868"/>
        </pc:sldMkLst>
        <pc:graphicFrameChg chg="mod modGraphic">
          <ac:chgData name="Niemiec, Genna" userId="S::gniemiec@ppg.com::9cfa5726-c570-4213-ae0d-58d457af3a84" providerId="AD" clId="Web-{78F7A31A-C3B4-84A0-C8ED-4CF2CF6FB798}" dt="2025-11-10T18:59:56.415" v="3"/>
          <ac:graphicFrameMkLst>
            <pc:docMk/>
            <pc:sldMk cId="249492725" sldId="4868"/>
            <ac:graphicFrameMk id="8" creationId="{7D1209EC-937B-4F19-A500-019E8EF9D50B}"/>
          </ac:graphicFrameMkLst>
        </pc:graphicFrameChg>
      </pc:sldChg>
    </pc:docChg>
  </pc:docChgLst>
  <pc:docChgLst>
    <pc:chgData name="Niemiec, Genna" userId="S::gniemiec@ppg.com::9cfa5726-c570-4213-ae0d-58d457af3a84" providerId="AD" clId="Web-{49FB8A5F-B4D9-7CCA-FC68-5CDFEB658789}"/>
    <pc:docChg chg="modSld">
      <pc:chgData name="Niemiec, Genna" userId="S::gniemiec@ppg.com::9cfa5726-c570-4213-ae0d-58d457af3a84" providerId="AD" clId="Web-{49FB8A5F-B4D9-7CCA-FC68-5CDFEB658789}" dt="2025-11-13T16:46:13.878" v="1"/>
      <pc:docMkLst>
        <pc:docMk/>
      </pc:docMkLst>
      <pc:sldChg chg="modSp">
        <pc:chgData name="Niemiec, Genna" userId="S::gniemiec@ppg.com::9cfa5726-c570-4213-ae0d-58d457af3a84" providerId="AD" clId="Web-{49FB8A5F-B4D9-7CCA-FC68-5CDFEB658789}" dt="2025-11-13T16:46:13.878" v="1"/>
        <pc:sldMkLst>
          <pc:docMk/>
          <pc:sldMk cId="649994596" sldId="4874"/>
        </pc:sldMkLst>
        <pc:picChg chg="mod modCrop">
          <ac:chgData name="Niemiec, Genna" userId="S::gniemiec@ppg.com::9cfa5726-c570-4213-ae0d-58d457af3a84" providerId="AD" clId="Web-{49FB8A5F-B4D9-7CCA-FC68-5CDFEB658789}" dt="2025-11-13T16:46:13.878" v="1"/>
          <ac:picMkLst>
            <pc:docMk/>
            <pc:sldMk cId="649994596" sldId="4874"/>
            <ac:picMk id="3" creationId="{722BB16F-6558-CD87-419F-7D9D58530F65}"/>
          </ac:picMkLst>
        </pc:picChg>
      </pc:sldChg>
    </pc:docChg>
  </pc:docChgLst>
  <pc:docChgLst>
    <pc:chgData name="Niemiec, Genna" userId="S::gniemiec@ppg.com::9cfa5726-c570-4213-ae0d-58d457af3a84" providerId="AD" clId="Web-{71732F87-E1D7-02B5-7935-08BFA2E85EB4}"/>
    <pc:docChg chg="modSld">
      <pc:chgData name="Niemiec, Genna" userId="S::gniemiec@ppg.com::9cfa5726-c570-4213-ae0d-58d457af3a84" providerId="AD" clId="Web-{71732F87-E1D7-02B5-7935-08BFA2E85EB4}" dt="2025-10-29T22:10:15.332" v="13"/>
      <pc:docMkLst>
        <pc:docMk/>
      </pc:docMkLst>
    </pc:docChg>
  </pc:docChgLst>
  <pc:docChgLst>
    <pc:chgData name="Eberhardt, Suzie" userId="S::seberhardt@ppg.com::e84ce7f3-ef87-433b-91b1-e6452be16913" providerId="AD" clId="Web-{F6AD47F3-A613-C263-1849-5315F540600F}"/>
    <pc:docChg chg="modSld">
      <pc:chgData name="Eberhardt, Suzie" userId="S::seberhardt@ppg.com::e84ce7f3-ef87-433b-91b1-e6452be16913" providerId="AD" clId="Web-{F6AD47F3-A613-C263-1849-5315F540600F}" dt="2025-11-11T16:26:25.876" v="1" actId="1076"/>
      <pc:docMkLst>
        <pc:docMk/>
      </pc:docMkLst>
      <pc:sldChg chg="modSp">
        <pc:chgData name="Eberhardt, Suzie" userId="S::seberhardt@ppg.com::e84ce7f3-ef87-433b-91b1-e6452be16913" providerId="AD" clId="Web-{F6AD47F3-A613-C263-1849-5315F540600F}" dt="2025-11-11T16:26:25.876" v="1" actId="1076"/>
        <pc:sldMkLst>
          <pc:docMk/>
          <pc:sldMk cId="2154607679" sldId="442"/>
        </pc:sldMkLst>
        <pc:spChg chg="mod">
          <ac:chgData name="Eberhardt, Suzie" userId="S::seberhardt@ppg.com::e84ce7f3-ef87-433b-91b1-e6452be16913" providerId="AD" clId="Web-{F6AD47F3-A613-C263-1849-5315F540600F}" dt="2025-11-11T16:26:25.876" v="1" actId="1076"/>
          <ac:spMkLst>
            <pc:docMk/>
            <pc:sldMk cId="2154607679" sldId="442"/>
            <ac:spMk id="13" creationId="{519FD3FC-E43D-42E0-9CB0-5A9D93A96570}"/>
          </ac:spMkLst>
        </pc:spChg>
      </pc:sldChg>
      <pc:sldChg chg="modSp">
        <pc:chgData name="Eberhardt, Suzie" userId="S::seberhardt@ppg.com::e84ce7f3-ef87-433b-91b1-e6452be16913" providerId="AD" clId="Web-{F6AD47F3-A613-C263-1849-5315F540600F}" dt="2025-11-11T16:23:42.495" v="0" actId="1076"/>
        <pc:sldMkLst>
          <pc:docMk/>
          <pc:sldMk cId="1713450351" sldId="4853"/>
        </pc:sldMkLst>
        <pc:spChg chg="mod">
          <ac:chgData name="Eberhardt, Suzie" userId="S::seberhardt@ppg.com::e84ce7f3-ef87-433b-91b1-e6452be16913" providerId="AD" clId="Web-{F6AD47F3-A613-C263-1849-5315F540600F}" dt="2025-11-11T16:23:42.495" v="0" actId="1076"/>
          <ac:spMkLst>
            <pc:docMk/>
            <pc:sldMk cId="1713450351" sldId="4853"/>
            <ac:spMk id="24" creationId="{01C187FA-DAC7-4D85-BAB7-4A0B7683EB9E}"/>
          </ac:spMkLst>
        </pc:spChg>
      </pc:sldChg>
    </pc:docChg>
  </pc:docChgLst>
  <pc:docChgLst>
    <pc:chgData name="Eberhardt, Suzie" userId="S::seberhardt@ppg.com::e84ce7f3-ef87-433b-91b1-e6452be16913" providerId="AD" clId="Web-{8ADAFAE0-878B-E976-6506-EC11CDC715E2}"/>
    <pc:docChg chg="modSld">
      <pc:chgData name="Eberhardt, Suzie" userId="S::seberhardt@ppg.com::e84ce7f3-ef87-433b-91b1-e6452be16913" providerId="AD" clId="Web-{8ADAFAE0-878B-E976-6506-EC11CDC715E2}" dt="2025-11-13T16:51:11.200" v="0"/>
      <pc:docMkLst>
        <pc:docMk/>
      </pc:docMkLst>
      <pc:sldChg chg="delSp">
        <pc:chgData name="Eberhardt, Suzie" userId="S::seberhardt@ppg.com::e84ce7f3-ef87-433b-91b1-e6452be16913" providerId="AD" clId="Web-{8ADAFAE0-878B-E976-6506-EC11CDC715E2}" dt="2025-11-13T16:51:11.200" v="0"/>
        <pc:sldMkLst>
          <pc:docMk/>
          <pc:sldMk cId="2876029837" sldId="4866"/>
        </pc:sldMkLst>
        <pc:spChg chg="del">
          <ac:chgData name="Eberhardt, Suzie" userId="S::seberhardt@ppg.com::e84ce7f3-ef87-433b-91b1-e6452be16913" providerId="AD" clId="Web-{8ADAFAE0-878B-E976-6506-EC11CDC715E2}" dt="2025-11-13T16:51:11.200" v="0"/>
          <ac:spMkLst>
            <pc:docMk/>
            <pc:sldMk cId="2876029837" sldId="4866"/>
            <ac:spMk id="9" creationId="{5E6958D4-9007-8BE1-7220-1C08A8B5F0DD}"/>
          </ac:spMkLst>
        </pc:spChg>
      </pc:sldChg>
    </pc:docChg>
  </pc:docChgLst>
  <pc:docChgLst>
    <pc:chgData name="Eberhardt, Suzie" userId="S::seberhardt@ppg.com::e84ce7f3-ef87-433b-91b1-e6452be16913" providerId="AD" clId="Web-{E85F508C-4DD2-4004-5143-62B57319CE2F}"/>
    <pc:docChg chg="modSld">
      <pc:chgData name="Eberhardt, Suzie" userId="S::seberhardt@ppg.com::e84ce7f3-ef87-433b-91b1-e6452be16913" providerId="AD" clId="Web-{E85F508C-4DD2-4004-5143-62B57319CE2F}" dt="2025-10-29T18:35:20.253" v="66" actId="1076"/>
      <pc:docMkLst>
        <pc:docMk/>
      </pc:docMkLst>
      <pc:sldChg chg="modSp">
        <pc:chgData name="Eberhardt, Suzie" userId="S::seberhardt@ppg.com::e84ce7f3-ef87-433b-91b1-e6452be16913" providerId="AD" clId="Web-{E85F508C-4DD2-4004-5143-62B57319CE2F}" dt="2025-10-29T18:02:00.707" v="2" actId="1076"/>
        <pc:sldMkLst>
          <pc:docMk/>
          <pc:sldMk cId="2826836537" sldId="320"/>
        </pc:sldMkLst>
        <pc:spChg chg="mod">
          <ac:chgData name="Eberhardt, Suzie" userId="S::seberhardt@ppg.com::e84ce7f3-ef87-433b-91b1-e6452be16913" providerId="AD" clId="Web-{E85F508C-4DD2-4004-5143-62B57319CE2F}" dt="2025-10-29T18:01:29.035" v="1" actId="1076"/>
          <ac:spMkLst>
            <pc:docMk/>
            <pc:sldMk cId="2826836537" sldId="320"/>
            <ac:spMk id="13" creationId="{41FB53AC-BBB0-44A8-A978-0EA54C18251E}"/>
          </ac:spMkLst>
        </pc:spChg>
        <pc:grpChg chg="mod">
          <ac:chgData name="Eberhardt, Suzie" userId="S::seberhardt@ppg.com::e84ce7f3-ef87-433b-91b1-e6452be16913" providerId="AD" clId="Web-{E85F508C-4DD2-4004-5143-62B57319CE2F}" dt="2025-10-29T18:02:00.707" v="2" actId="1076"/>
          <ac:grpSpMkLst>
            <pc:docMk/>
            <pc:sldMk cId="2826836537" sldId="320"/>
            <ac:grpSpMk id="14" creationId="{6DEF253F-3D2D-4821-822F-77EFBC77A8D0}"/>
          </ac:grpSpMkLst>
        </pc:grpChg>
      </pc:sldChg>
      <pc:sldChg chg="modSp">
        <pc:chgData name="Eberhardt, Suzie" userId="S::seberhardt@ppg.com::e84ce7f3-ef87-433b-91b1-e6452be16913" providerId="AD" clId="Web-{E85F508C-4DD2-4004-5143-62B57319CE2F}" dt="2025-10-29T18:02:54.567" v="6" actId="20577"/>
        <pc:sldMkLst>
          <pc:docMk/>
          <pc:sldMk cId="3506052799" sldId="321"/>
        </pc:sldMkLst>
        <pc:spChg chg="mod">
          <ac:chgData name="Eberhardt, Suzie" userId="S::seberhardt@ppg.com::e84ce7f3-ef87-433b-91b1-e6452be16913" providerId="AD" clId="Web-{E85F508C-4DD2-4004-5143-62B57319CE2F}" dt="2025-10-29T18:02:54.567" v="6" actId="20577"/>
          <ac:spMkLst>
            <pc:docMk/>
            <pc:sldMk cId="3506052799" sldId="321"/>
            <ac:spMk id="7" creationId="{3D0F8355-1AD2-4DB1-9F83-C1F202B3EEBD}"/>
          </ac:spMkLst>
        </pc:spChg>
      </pc:sldChg>
      <pc:sldChg chg="modSp">
        <pc:chgData name="Eberhardt, Suzie" userId="S::seberhardt@ppg.com::e84ce7f3-ef87-433b-91b1-e6452be16913" providerId="AD" clId="Web-{E85F508C-4DD2-4004-5143-62B57319CE2F}" dt="2025-10-29T18:09:02.694" v="24"/>
        <pc:sldMkLst>
          <pc:docMk/>
          <pc:sldMk cId="1148670336" sldId="331"/>
        </pc:sldMkLst>
        <pc:graphicFrameChg chg="mod modGraphic">
          <ac:chgData name="Eberhardt, Suzie" userId="S::seberhardt@ppg.com::e84ce7f3-ef87-433b-91b1-e6452be16913" providerId="AD" clId="Web-{E85F508C-4DD2-4004-5143-62B57319CE2F}" dt="2025-10-29T18:09:02.694" v="24"/>
          <ac:graphicFrameMkLst>
            <pc:docMk/>
            <pc:sldMk cId="1148670336" sldId="331"/>
            <ac:graphicFrameMk id="6" creationId="{00000000-0000-0000-0000-000000000000}"/>
          </ac:graphicFrameMkLst>
        </pc:graphicFrameChg>
      </pc:sldChg>
      <pc:sldChg chg="modSp">
        <pc:chgData name="Eberhardt, Suzie" userId="S::seberhardt@ppg.com::e84ce7f3-ef87-433b-91b1-e6452be16913" providerId="AD" clId="Web-{E85F508C-4DD2-4004-5143-62B57319CE2F}" dt="2025-10-29T18:33:21.845" v="58" actId="1076"/>
        <pc:sldMkLst>
          <pc:docMk/>
          <pc:sldMk cId="729981181" sldId="340"/>
        </pc:sldMkLst>
        <pc:spChg chg="mod">
          <ac:chgData name="Eberhardt, Suzie" userId="S::seberhardt@ppg.com::e84ce7f3-ef87-433b-91b1-e6452be16913" providerId="AD" clId="Web-{E85F508C-4DD2-4004-5143-62B57319CE2F}" dt="2025-10-29T18:33:21.845" v="58" actId="1076"/>
          <ac:spMkLst>
            <pc:docMk/>
            <pc:sldMk cId="729981181" sldId="340"/>
            <ac:spMk id="7" creationId="{791969EE-077D-469E-B883-9A0BE520B4C3}"/>
          </ac:spMkLst>
        </pc:spChg>
      </pc:sldChg>
      <pc:sldChg chg="modSp">
        <pc:chgData name="Eberhardt, Suzie" userId="S::seberhardt@ppg.com::e84ce7f3-ef87-433b-91b1-e6452be16913" providerId="AD" clId="Web-{E85F508C-4DD2-4004-5143-62B57319CE2F}" dt="2025-10-29T18:35:20.253" v="66" actId="1076"/>
        <pc:sldMkLst>
          <pc:docMk/>
          <pc:sldMk cId="3049460392" sldId="345"/>
        </pc:sldMkLst>
        <pc:spChg chg="mod">
          <ac:chgData name="Eberhardt, Suzie" userId="S::seberhardt@ppg.com::e84ce7f3-ef87-433b-91b1-e6452be16913" providerId="AD" clId="Web-{E85F508C-4DD2-4004-5143-62B57319CE2F}" dt="2025-10-29T18:35:20.253" v="66" actId="1076"/>
          <ac:spMkLst>
            <pc:docMk/>
            <pc:sldMk cId="3049460392" sldId="345"/>
            <ac:spMk id="5" creationId="{9D6B1B73-3F43-4F4D-8BF4-E838E1379745}"/>
          </ac:spMkLst>
        </pc:spChg>
        <pc:spChg chg="mod">
          <ac:chgData name="Eberhardt, Suzie" userId="S::seberhardt@ppg.com::e84ce7f3-ef87-433b-91b1-e6452be16913" providerId="AD" clId="Web-{E85F508C-4DD2-4004-5143-62B57319CE2F}" dt="2025-10-29T18:35:12.847" v="65" actId="1076"/>
          <ac:spMkLst>
            <pc:docMk/>
            <pc:sldMk cId="3049460392" sldId="345"/>
            <ac:spMk id="20" creationId="{720929A2-0968-4151-9B3C-B24321AD4033}"/>
          </ac:spMkLst>
        </pc:spChg>
        <pc:grpChg chg="mod">
          <ac:chgData name="Eberhardt, Suzie" userId="S::seberhardt@ppg.com::e84ce7f3-ef87-433b-91b1-e6452be16913" providerId="AD" clId="Web-{E85F508C-4DD2-4004-5143-62B57319CE2F}" dt="2025-10-29T18:35:04.941" v="64" actId="1076"/>
          <ac:grpSpMkLst>
            <pc:docMk/>
            <pc:sldMk cId="3049460392" sldId="345"/>
            <ac:grpSpMk id="18" creationId="{AC20D259-C9B8-4D18-ABD1-82F8116EFD0C}"/>
          </ac:grpSpMkLst>
        </pc:grpChg>
      </pc:sldChg>
      <pc:sldChg chg="modSp">
        <pc:chgData name="Eberhardt, Suzie" userId="S::seberhardt@ppg.com::e84ce7f3-ef87-433b-91b1-e6452be16913" providerId="AD" clId="Web-{E85F508C-4DD2-4004-5143-62B57319CE2F}" dt="2025-10-29T18:30:00.421" v="53" actId="1076"/>
        <pc:sldMkLst>
          <pc:docMk/>
          <pc:sldMk cId="2664600516" sldId="427"/>
        </pc:sldMkLst>
        <pc:spChg chg="mod">
          <ac:chgData name="Eberhardt, Suzie" userId="S::seberhardt@ppg.com::e84ce7f3-ef87-433b-91b1-e6452be16913" providerId="AD" clId="Web-{E85F508C-4DD2-4004-5143-62B57319CE2F}" dt="2025-10-29T18:30:00.421" v="53" actId="1076"/>
          <ac:spMkLst>
            <pc:docMk/>
            <pc:sldMk cId="2664600516" sldId="427"/>
            <ac:spMk id="41" creationId="{5D979DEB-0C02-426B-B2DF-A7E25F7B0637}"/>
          </ac:spMkLst>
        </pc:spChg>
        <pc:grpChg chg="mod">
          <ac:chgData name="Eberhardt, Suzie" userId="S::seberhardt@ppg.com::e84ce7f3-ef87-433b-91b1-e6452be16913" providerId="AD" clId="Web-{E85F508C-4DD2-4004-5143-62B57319CE2F}" dt="2025-10-29T18:29:53.921" v="52" actId="1076"/>
          <ac:grpSpMkLst>
            <pc:docMk/>
            <pc:sldMk cId="2664600516" sldId="427"/>
            <ac:grpSpMk id="39" creationId="{305157A8-1600-4D74-A6B3-849075EE1115}"/>
          </ac:grpSpMkLst>
        </pc:grpChg>
      </pc:sldChg>
      <pc:sldChg chg="modSp">
        <pc:chgData name="Eberhardt, Suzie" userId="S::seberhardt@ppg.com::e84ce7f3-ef87-433b-91b1-e6452be16913" providerId="AD" clId="Web-{E85F508C-4DD2-4004-5143-62B57319CE2F}" dt="2025-10-29T18:32:24.610" v="56" actId="1076"/>
        <pc:sldMkLst>
          <pc:docMk/>
          <pc:sldMk cId="2046420766" sldId="440"/>
        </pc:sldMkLst>
        <pc:spChg chg="mod">
          <ac:chgData name="Eberhardt, Suzie" userId="S::seberhardt@ppg.com::e84ce7f3-ef87-433b-91b1-e6452be16913" providerId="AD" clId="Web-{E85F508C-4DD2-4004-5143-62B57319CE2F}" dt="2025-10-29T18:32:24.610" v="56" actId="1076"/>
          <ac:spMkLst>
            <pc:docMk/>
            <pc:sldMk cId="2046420766" sldId="440"/>
            <ac:spMk id="13" creationId="{C740A495-D4A6-4E7E-98D7-205AE088D76B}"/>
          </ac:spMkLst>
        </pc:spChg>
      </pc:sldChg>
      <pc:sldChg chg="modSp">
        <pc:chgData name="Eberhardt, Suzie" userId="S::seberhardt@ppg.com::e84ce7f3-ef87-433b-91b1-e6452be16913" providerId="AD" clId="Web-{E85F508C-4DD2-4004-5143-62B57319CE2F}" dt="2025-10-29T18:34:15.299" v="61" actId="1076"/>
        <pc:sldMkLst>
          <pc:docMk/>
          <pc:sldMk cId="4231785774" sldId="441"/>
        </pc:sldMkLst>
        <pc:spChg chg="mod">
          <ac:chgData name="Eberhardt, Suzie" userId="S::seberhardt@ppg.com::e84ce7f3-ef87-433b-91b1-e6452be16913" providerId="AD" clId="Web-{E85F508C-4DD2-4004-5143-62B57319CE2F}" dt="2025-10-29T18:34:15.299" v="61" actId="1076"/>
          <ac:spMkLst>
            <pc:docMk/>
            <pc:sldMk cId="4231785774" sldId="441"/>
            <ac:spMk id="6" creationId="{EB60A3F1-6DE7-42A0-BC14-9C6BA0E949C3}"/>
          </ac:spMkLst>
        </pc:spChg>
        <pc:grpChg chg="mod">
          <ac:chgData name="Eberhardt, Suzie" userId="S::seberhardt@ppg.com::e84ce7f3-ef87-433b-91b1-e6452be16913" providerId="AD" clId="Web-{E85F508C-4DD2-4004-5143-62B57319CE2F}" dt="2025-10-29T18:34:07.409" v="60" actId="1076"/>
          <ac:grpSpMkLst>
            <pc:docMk/>
            <pc:sldMk cId="4231785774" sldId="441"/>
            <ac:grpSpMk id="2" creationId="{A1DCF230-7A93-44D3-ACBD-461C80028103}"/>
          </ac:grpSpMkLst>
        </pc:grpChg>
      </pc:sldChg>
      <pc:sldChg chg="modSp">
        <pc:chgData name="Eberhardt, Suzie" userId="S::seberhardt@ppg.com::e84ce7f3-ef87-433b-91b1-e6452be16913" providerId="AD" clId="Web-{E85F508C-4DD2-4004-5143-62B57319CE2F}" dt="2025-10-29T18:34:46.034" v="63" actId="1076"/>
        <pc:sldMkLst>
          <pc:docMk/>
          <pc:sldMk cId="2154607679" sldId="442"/>
        </pc:sldMkLst>
        <pc:spChg chg="mod">
          <ac:chgData name="Eberhardt, Suzie" userId="S::seberhardt@ppg.com::e84ce7f3-ef87-433b-91b1-e6452be16913" providerId="AD" clId="Web-{E85F508C-4DD2-4004-5143-62B57319CE2F}" dt="2025-10-29T18:34:46.034" v="63" actId="1076"/>
          <ac:spMkLst>
            <pc:docMk/>
            <pc:sldMk cId="2154607679" sldId="442"/>
            <ac:spMk id="13" creationId="{519FD3FC-E43D-42E0-9CB0-5A9D93A96570}"/>
          </ac:spMkLst>
        </pc:spChg>
        <pc:grpChg chg="mod">
          <ac:chgData name="Eberhardt, Suzie" userId="S::seberhardt@ppg.com::e84ce7f3-ef87-433b-91b1-e6452be16913" providerId="AD" clId="Web-{E85F508C-4DD2-4004-5143-62B57319CE2F}" dt="2025-10-29T18:34:40.706" v="62" actId="1076"/>
          <ac:grpSpMkLst>
            <pc:docMk/>
            <pc:sldMk cId="2154607679" sldId="442"/>
            <ac:grpSpMk id="2" creationId="{6BE527E7-6E18-49E4-9914-F7340B3EC978}"/>
          </ac:grpSpMkLst>
        </pc:grpChg>
      </pc:sldChg>
      <pc:sldChg chg="modSp">
        <pc:chgData name="Eberhardt, Suzie" userId="S::seberhardt@ppg.com::e84ce7f3-ef87-433b-91b1-e6452be16913" providerId="AD" clId="Web-{E85F508C-4DD2-4004-5143-62B57319CE2F}" dt="2025-10-29T18:22:49.638" v="45" actId="20577"/>
        <pc:sldMkLst>
          <pc:docMk/>
          <pc:sldMk cId="277160224" sldId="443"/>
        </pc:sldMkLst>
        <pc:spChg chg="mod">
          <ac:chgData name="Eberhardt, Suzie" userId="S::seberhardt@ppg.com::e84ce7f3-ef87-433b-91b1-e6452be16913" providerId="AD" clId="Web-{E85F508C-4DD2-4004-5143-62B57319CE2F}" dt="2025-10-29T18:22:49.638" v="45" actId="20577"/>
          <ac:spMkLst>
            <pc:docMk/>
            <pc:sldMk cId="277160224" sldId="443"/>
            <ac:spMk id="32" creationId="{8043CE84-1042-4E74-AD7F-60DA0AFBB441}"/>
          </ac:spMkLst>
        </pc:spChg>
      </pc:sldChg>
      <pc:sldChg chg="modSp">
        <pc:chgData name="Eberhardt, Suzie" userId="S::seberhardt@ppg.com::e84ce7f3-ef87-433b-91b1-e6452be16913" providerId="AD" clId="Web-{E85F508C-4DD2-4004-5143-62B57319CE2F}" dt="2025-10-29T18:30:13.531" v="54" actId="1076"/>
        <pc:sldMkLst>
          <pc:docMk/>
          <pc:sldMk cId="1713450351" sldId="4853"/>
        </pc:sldMkLst>
        <pc:grpChg chg="mod">
          <ac:chgData name="Eberhardt, Suzie" userId="S::seberhardt@ppg.com::e84ce7f3-ef87-433b-91b1-e6452be16913" providerId="AD" clId="Web-{E85F508C-4DD2-4004-5143-62B57319CE2F}" dt="2025-10-29T18:30:13.531" v="54" actId="1076"/>
          <ac:grpSpMkLst>
            <pc:docMk/>
            <pc:sldMk cId="1713450351" sldId="4853"/>
            <ac:grpSpMk id="22" creationId="{3558CAF2-EA79-4E29-8760-9831A86551DA}"/>
          </ac:grpSpMkLst>
        </pc:grpChg>
      </pc:sldChg>
      <pc:sldChg chg="modSp">
        <pc:chgData name="Eberhardt, Suzie" userId="S::seberhardt@ppg.com::e84ce7f3-ef87-433b-91b1-e6452be16913" providerId="AD" clId="Web-{E85F508C-4DD2-4004-5143-62B57319CE2F}" dt="2025-10-29T18:24:28.701" v="49" actId="20577"/>
        <pc:sldMkLst>
          <pc:docMk/>
          <pc:sldMk cId="2188922260" sldId="4858"/>
        </pc:sldMkLst>
        <pc:spChg chg="mod">
          <ac:chgData name="Eberhardt, Suzie" userId="S::seberhardt@ppg.com::e84ce7f3-ef87-433b-91b1-e6452be16913" providerId="AD" clId="Web-{E85F508C-4DD2-4004-5143-62B57319CE2F}" dt="2025-10-29T18:24:28.701" v="49" actId="20577"/>
          <ac:spMkLst>
            <pc:docMk/>
            <pc:sldMk cId="2188922260" sldId="4858"/>
            <ac:spMk id="32" creationId="{8043CE84-1042-4E74-AD7F-60DA0AFBB441}"/>
          </ac:spMkLst>
        </pc:spChg>
      </pc:sldChg>
      <pc:sldChg chg="modSp">
        <pc:chgData name="Eberhardt, Suzie" userId="S::seberhardt@ppg.com::e84ce7f3-ef87-433b-91b1-e6452be16913" providerId="AD" clId="Web-{E85F508C-4DD2-4004-5143-62B57319CE2F}" dt="2025-10-29T18:04:38.724" v="8" actId="1076"/>
        <pc:sldMkLst>
          <pc:docMk/>
          <pc:sldMk cId="4092866608" sldId="4859"/>
        </pc:sldMkLst>
        <pc:spChg chg="mod">
          <ac:chgData name="Eberhardt, Suzie" userId="S::seberhardt@ppg.com::e84ce7f3-ef87-433b-91b1-e6452be16913" providerId="AD" clId="Web-{E85F508C-4DD2-4004-5143-62B57319CE2F}" dt="2025-10-29T18:04:38.724" v="8" actId="1076"/>
          <ac:spMkLst>
            <pc:docMk/>
            <pc:sldMk cId="4092866608" sldId="4859"/>
            <ac:spMk id="14" creationId="{AC225862-0158-4FFC-8A18-F1026C5D6914}"/>
          </ac:spMkLst>
        </pc:spChg>
        <pc:grpChg chg="mod">
          <ac:chgData name="Eberhardt, Suzie" userId="S::seberhardt@ppg.com::e84ce7f3-ef87-433b-91b1-e6452be16913" providerId="AD" clId="Web-{E85F508C-4DD2-4004-5143-62B57319CE2F}" dt="2025-10-29T18:04:29.865" v="7" actId="1076"/>
          <ac:grpSpMkLst>
            <pc:docMk/>
            <pc:sldMk cId="4092866608" sldId="4859"/>
            <ac:grpSpMk id="4" creationId="{CA260969-FA69-479D-B498-F9C904F57691}"/>
          </ac:grpSpMkLst>
        </pc:gr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latin typeface="Arial"/>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2540CCF2-A8AA-42D5-8BF4-1A18AC401365}" type="datetime9">
              <a:rPr lang="en-US" smtClean="0">
                <a:latin typeface="Arial"/>
              </a:rPr>
              <a:t>11/13/2025 8:51:30 AM</a:t>
            </a:fld>
            <a:endParaRPr lang="en-US">
              <a:latin typeface="Arial"/>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latin typeface="Arial"/>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7C9804E7-8FD6-B940-92E8-B861F73EDC79}" type="slidenum">
              <a:rPr lang="en-US" smtClean="0">
                <a:latin typeface="Arial"/>
              </a:rPr>
              <a:t>‹#›</a:t>
            </a:fld>
            <a:endParaRPr lang="en-US">
              <a:latin typeface="Arial"/>
            </a:endParaRPr>
          </a:p>
        </p:txBody>
      </p:sp>
    </p:spTree>
    <p:extLst>
      <p:ext uri="{BB962C8B-B14F-4D97-AF65-F5344CB8AC3E}">
        <p14:creationId xmlns:p14="http://schemas.microsoft.com/office/powerpoint/2010/main" val="165753607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Arial"/>
              </a:defRPr>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Arial"/>
              </a:defRPr>
            </a:lvl1pPr>
          </a:lstStyle>
          <a:p>
            <a:fld id="{08CF031A-F1FA-40C3-AE16-266865B9FE0C}" type="datetime9">
              <a:rPr lang="en-US" smtClean="0"/>
              <a:t>11/13/2025 8:51:29 AM</a:t>
            </a:fld>
            <a:endParaRPr lang="en-US"/>
          </a:p>
        </p:txBody>
      </p:sp>
      <p:sp>
        <p:nvSpPr>
          <p:cNvPr id="4" name="Slide Image Placeholder 3"/>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64910" y="4415790"/>
            <a:ext cx="6862032" cy="448403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010498"/>
            <a:ext cx="3037840" cy="284288"/>
          </a:xfrm>
          <a:prstGeom prst="rect">
            <a:avLst/>
          </a:prstGeom>
        </p:spPr>
        <p:txBody>
          <a:bodyPr vert="horz" lIns="93177" tIns="46589" rIns="93177" bIns="46589" rtlCol="0" anchor="b"/>
          <a:lstStyle>
            <a:lvl1pPr algn="l">
              <a:defRPr sz="1200">
                <a:latin typeface="Arial"/>
              </a:defRPr>
            </a:lvl1pPr>
          </a:lstStyle>
          <a:p>
            <a:endParaRPr lang="en-US"/>
          </a:p>
        </p:txBody>
      </p:sp>
      <p:sp>
        <p:nvSpPr>
          <p:cNvPr id="7" name="Slide Number Placeholder 6"/>
          <p:cNvSpPr>
            <a:spLocks noGrp="1"/>
          </p:cNvSpPr>
          <p:nvPr>
            <p:ph type="sldNum" sz="quarter" idx="5"/>
          </p:nvPr>
        </p:nvSpPr>
        <p:spPr>
          <a:xfrm>
            <a:off x="3970938" y="9010499"/>
            <a:ext cx="3037840" cy="284287"/>
          </a:xfrm>
          <a:prstGeom prst="rect">
            <a:avLst/>
          </a:prstGeom>
        </p:spPr>
        <p:txBody>
          <a:bodyPr vert="horz" lIns="93177" tIns="46589" rIns="93177" bIns="46589" rtlCol="0" anchor="b"/>
          <a:lstStyle>
            <a:lvl1pPr algn="r">
              <a:defRPr sz="1200">
                <a:latin typeface="Arial"/>
              </a:defRPr>
            </a:lvl1pPr>
          </a:lstStyle>
          <a:p>
            <a:fld id="{611B7F05-7B39-E647-A9E3-967587119697}" type="slidenum">
              <a:rPr lang="en-US" smtClean="0"/>
              <a:pPr/>
              <a:t>‹#›</a:t>
            </a:fld>
            <a:endParaRPr lang="en-US"/>
          </a:p>
        </p:txBody>
      </p:sp>
    </p:spTree>
    <p:extLst>
      <p:ext uri="{BB962C8B-B14F-4D97-AF65-F5344CB8AC3E}">
        <p14:creationId xmlns:p14="http://schemas.microsoft.com/office/powerpoint/2010/main" val="3474353967"/>
      </p:ext>
    </p:extLst>
  </p:cSld>
  <p:clrMap bg1="lt1" tx1="dk1" bg2="lt2" tx2="dk2" accent1="accent1" accent2="accent2" accent3="accent3" accent4="accent4" accent5="accent5" accent6="accent6" hlink="hlink" folHlink="folHlink"/>
  <p:hf hdr="0" ftr="0"/>
  <p:notesStyle>
    <a:lvl1pPr marL="0" algn="l" defTabSz="457200" rtl="0" eaLnBrk="1" latinLnBrk="0" hangingPunct="1">
      <a:defRPr sz="1200" kern="1200">
        <a:solidFill>
          <a:schemeClr val="tx1"/>
        </a:solidFill>
        <a:latin typeface="Arial"/>
        <a:ea typeface="+mn-ea"/>
        <a:cs typeface="+mn-cs"/>
      </a:defRPr>
    </a:lvl1pPr>
    <a:lvl2pPr marL="457200" algn="l" defTabSz="457200" rtl="0" eaLnBrk="1" latinLnBrk="0" hangingPunct="1">
      <a:defRPr sz="1200" kern="1200">
        <a:solidFill>
          <a:schemeClr val="tx1"/>
        </a:solidFill>
        <a:latin typeface="Arial"/>
        <a:ea typeface="+mn-ea"/>
        <a:cs typeface="+mn-cs"/>
      </a:defRPr>
    </a:lvl2pPr>
    <a:lvl3pPr marL="914400" algn="l" defTabSz="457200" rtl="0" eaLnBrk="1" latinLnBrk="0" hangingPunct="1">
      <a:defRPr sz="1200" kern="1200">
        <a:solidFill>
          <a:schemeClr val="tx1"/>
        </a:solidFill>
        <a:latin typeface="Arial"/>
        <a:ea typeface="+mn-ea"/>
        <a:cs typeface="+mn-cs"/>
      </a:defRPr>
    </a:lvl3pPr>
    <a:lvl4pPr marL="1371600" algn="l" defTabSz="457200" rtl="0" eaLnBrk="1" latinLnBrk="0" hangingPunct="1">
      <a:defRPr sz="1200" kern="1200">
        <a:solidFill>
          <a:schemeClr val="tx1"/>
        </a:solidFill>
        <a:latin typeface="Arial"/>
        <a:ea typeface="+mn-ea"/>
        <a:cs typeface="+mn-cs"/>
      </a:defRPr>
    </a:lvl4pPr>
    <a:lvl5pPr marL="1828800" algn="l" defTabSz="457200" rtl="0" eaLnBrk="1" latinLnBrk="0" hangingPunct="1">
      <a:defRPr sz="1200" kern="1200">
        <a:solidFill>
          <a:schemeClr val="tx1"/>
        </a:solidFill>
        <a:latin typeface="Arial"/>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BE3C289-F52F-4590-A1C2-F789A6B71389}" type="datetime9">
              <a:rPr lang="en-US" smtClean="0"/>
              <a:t>11/13/2025 8:51:30 AM</a:t>
            </a:fld>
            <a:endParaRPr lang="en-US"/>
          </a:p>
        </p:txBody>
      </p:sp>
      <p:sp>
        <p:nvSpPr>
          <p:cNvPr id="5" name="Slide Number Placeholder 4"/>
          <p:cNvSpPr>
            <a:spLocks noGrp="1"/>
          </p:cNvSpPr>
          <p:nvPr>
            <p:ph type="sldNum" sz="quarter" idx="5"/>
          </p:nvPr>
        </p:nvSpPr>
        <p:spPr/>
        <p:txBody>
          <a:bodyPr/>
          <a:lstStyle/>
          <a:p>
            <a:fld id="{611B7F05-7B39-E647-A9E3-967587119697}" type="slidenum">
              <a:rPr lang="en-US" smtClean="0"/>
              <a:pPr/>
              <a:t>1</a:t>
            </a:fld>
            <a:endParaRPr lang="en-US"/>
          </a:p>
        </p:txBody>
      </p:sp>
    </p:spTree>
    <p:extLst>
      <p:ext uri="{BB962C8B-B14F-4D97-AF65-F5344CB8AC3E}">
        <p14:creationId xmlns:p14="http://schemas.microsoft.com/office/powerpoint/2010/main" val="1217959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7AD31603-B2CE-4BFE-8192-0E075E27DFEA}"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16</a:t>
            </a:fld>
            <a:endParaRPr lang="en-US"/>
          </a:p>
        </p:txBody>
      </p:sp>
    </p:spTree>
    <p:extLst>
      <p:ext uri="{BB962C8B-B14F-4D97-AF65-F5344CB8AC3E}">
        <p14:creationId xmlns:p14="http://schemas.microsoft.com/office/powerpoint/2010/main" val="20325837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E516B00D-5074-4703-BA13-BDD8C882BD95}"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17</a:t>
            </a:fld>
            <a:endParaRPr lang="en-US"/>
          </a:p>
        </p:txBody>
      </p:sp>
    </p:spTree>
    <p:extLst>
      <p:ext uri="{BB962C8B-B14F-4D97-AF65-F5344CB8AC3E}">
        <p14:creationId xmlns:p14="http://schemas.microsoft.com/office/powerpoint/2010/main" val="1475086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r>
              <a:rPr lang="en-US" b="1"/>
              <a:t>Please define PTFE, PFOE and PFOA in simple terms. </a:t>
            </a:r>
            <a:r>
              <a:rPr lang="en-US"/>
              <a:t>What does it mean when we say a coating is PTFE-free, PFOE-free and/or PFOA-free? How are the chemicals removed? What do you use in place of PFOA, PFOE or PTFE? Are the replacements safe?</a:t>
            </a:r>
          </a:p>
          <a:p>
            <a:pPr lvl="0"/>
            <a:endParaRPr lang="en-US"/>
          </a:p>
          <a:p>
            <a:pPr defTabSz="888614"/>
            <a:r>
              <a:rPr lang="en-US"/>
              <a:t>Regarding PFOA, PTFE and PFOE:  why do you decide to use one and not another? Why do you need to use chemicals in non-stick coatings?</a:t>
            </a:r>
          </a:p>
          <a:p>
            <a:pPr lvl="0"/>
            <a:endParaRPr lang="en-US"/>
          </a:p>
          <a:p>
            <a:r>
              <a:rPr lang="en-US"/>
              <a:t>PFOA is an important chemical, crucial to the manufacture of materials used to make a wide variety of products.  </a:t>
            </a:r>
          </a:p>
          <a:p>
            <a:r>
              <a:rPr lang="en-US"/>
              <a:t>What little PFOA may have been in the dispersions used to make a coating is decomposed and incinerated by the curing (baking) process through which all non-stick-coated products pass — to the point at which it is virtually undetectable in the toughest migration tests. PFOA is destroyed in one second at 500° F (260° C), and high-quality non-stick coatings are all cured at very high temperatures, usually around 800°F/425°C for 10 minutes. So the conditions are such that the PFOA is destroyed in the curing process.  In every study of non-stick-coated cookware by every regulatory agency worldwide, conducted under normal cooking conditions, the results have been the same: There is no detectable PFOA.  It has been, is, and will always be safe to use non-stick cookware, bakeware and small appliances as intended.</a:t>
            </a:r>
          </a:p>
          <a:p>
            <a:pPr lvl="0"/>
            <a:endParaRPr lang="en-US"/>
          </a:p>
          <a:p>
            <a:r>
              <a:rPr lang="en-US" b="1"/>
              <a:t>Is there any chance fluoropolymers or non-stick coatings will be banned?</a:t>
            </a:r>
          </a:p>
          <a:p>
            <a:r>
              <a:rPr lang="en-US"/>
              <a:t>Absolutely not! Fluoropolymers and non-stick coatings are here to stay. Remember, PFOA is not the same as PTFE. It is not used to make non-stick-coated housewares products, it is just a component in the manufacturing process of fluoropolymers, such as PTFE. In addition, both fluoropolymers and non-stick coatings, for many years, have made significant contributions to human well-being in hundreds of industries, including cookware, bakeware and small appliances, and life would be far less easy, less comfortable, and less worry-free without them.</a:t>
            </a:r>
          </a:p>
          <a:p>
            <a:endParaRPr lang="en-US"/>
          </a:p>
          <a:p>
            <a:r>
              <a:rPr lang="en-US"/>
              <a:t>What is changing are the methods used to manufacture such products, which, as mentioned above, has already reduced the emissions of PFOA significantly, and will virtually eliminate emissions in the near future.</a:t>
            </a:r>
          </a:p>
          <a:p>
            <a:pPr lvl="0"/>
            <a:endParaRPr lang="en-US"/>
          </a:p>
          <a:p>
            <a:r>
              <a:rPr lang="en-US" b="1"/>
              <a:t>What can we expect in the future?</a:t>
            </a:r>
          </a:p>
          <a:p>
            <a:r>
              <a:rPr lang="en-US"/>
              <a:t>Overall, you can expect the virtual elimination of emissions of PFOA, with little or no harm done to the industries that manufacture and use fluoropolymers, and no inconvenience to the millions and millions of consumers around the world who depend on and benefit greatly from products that contain fluoropolymers. </a:t>
            </a:r>
          </a:p>
          <a:p>
            <a:pPr lvl="0"/>
            <a:endParaRPr lang="en-US"/>
          </a:p>
          <a:p>
            <a:r>
              <a:rPr lang="en-US" b="1"/>
              <a:t>What's the bottom line?</a:t>
            </a:r>
          </a:p>
          <a:p>
            <a:r>
              <a:rPr lang="en-US"/>
              <a:t>non-stick coatings were introduced into the housewares market about 50 years ago. Since then, billions of pieces of cookware, bakeware and small electrics with non-stick coatings have been used around the world — virtually problem-free.</a:t>
            </a:r>
          </a:p>
          <a:p>
            <a:endParaRPr lang="en-US"/>
          </a:p>
          <a:p>
            <a:r>
              <a:rPr lang="en-US"/>
              <a:t>All available information tells us that non-stick-coated housewares are indeed among the safest and most useful items ever introduced into commerce. So you can be confident when talking to your customers or addressing any concerns on this issue. </a:t>
            </a:r>
          </a:p>
          <a:p>
            <a:endParaRPr lang="en-US"/>
          </a:p>
        </p:txBody>
      </p:sp>
      <p:sp>
        <p:nvSpPr>
          <p:cNvPr id="4" name="Date Placeholder 3"/>
          <p:cNvSpPr>
            <a:spLocks noGrp="1"/>
          </p:cNvSpPr>
          <p:nvPr>
            <p:ph type="dt" idx="10"/>
          </p:nvPr>
        </p:nvSpPr>
        <p:spPr/>
        <p:txBody>
          <a:bodyPr/>
          <a:lstStyle/>
          <a:p>
            <a:fld id="{C62412F9-F9BA-423D-B741-3DF675AB5C8B}"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18</a:t>
            </a:fld>
            <a:endParaRPr lang="en-US"/>
          </a:p>
        </p:txBody>
      </p:sp>
    </p:spTree>
    <p:extLst>
      <p:ext uri="{BB962C8B-B14F-4D97-AF65-F5344CB8AC3E}">
        <p14:creationId xmlns:p14="http://schemas.microsoft.com/office/powerpoint/2010/main" val="24898845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discuss during bakeware video</a:t>
            </a:r>
          </a:p>
          <a:p>
            <a:endParaRPr lang="en-US"/>
          </a:p>
        </p:txBody>
      </p:sp>
      <p:sp>
        <p:nvSpPr>
          <p:cNvPr id="4" name="Date Placeholder 3"/>
          <p:cNvSpPr>
            <a:spLocks noGrp="1"/>
          </p:cNvSpPr>
          <p:nvPr>
            <p:ph type="dt" idx="10"/>
          </p:nvPr>
        </p:nvSpPr>
        <p:spPr/>
        <p:txBody>
          <a:bodyPr/>
          <a:lstStyle/>
          <a:p>
            <a:fld id="{ABDE358B-FD2E-4CEF-A2E6-9D20E3531F0D}"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19</a:t>
            </a:fld>
            <a:endParaRPr lang="en-US"/>
          </a:p>
        </p:txBody>
      </p:sp>
    </p:spTree>
    <p:extLst>
      <p:ext uri="{BB962C8B-B14F-4D97-AF65-F5344CB8AC3E}">
        <p14:creationId xmlns:p14="http://schemas.microsoft.com/office/powerpoint/2010/main" val="34349621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1"/>
          </a:p>
        </p:txBody>
      </p:sp>
      <p:sp>
        <p:nvSpPr>
          <p:cNvPr id="4" name="Date Placeholder 3"/>
          <p:cNvSpPr>
            <a:spLocks noGrp="1"/>
          </p:cNvSpPr>
          <p:nvPr>
            <p:ph type="dt" idx="10"/>
          </p:nvPr>
        </p:nvSpPr>
        <p:spPr/>
        <p:txBody>
          <a:bodyPr/>
          <a:lstStyle/>
          <a:p>
            <a:fld id="{19D95498-F62A-41C5-BA45-95273E676AC5}"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21</a:t>
            </a:fld>
            <a:endParaRPr lang="en-US"/>
          </a:p>
        </p:txBody>
      </p:sp>
    </p:spTree>
    <p:extLst>
      <p:ext uri="{BB962C8B-B14F-4D97-AF65-F5344CB8AC3E}">
        <p14:creationId xmlns:p14="http://schemas.microsoft.com/office/powerpoint/2010/main" val="2594002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EFD9003B-A7CB-44A0-BD07-E177FF1046C9}"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24</a:t>
            </a:fld>
            <a:endParaRPr lang="en-US"/>
          </a:p>
        </p:txBody>
      </p:sp>
    </p:spTree>
    <p:extLst>
      <p:ext uri="{BB962C8B-B14F-4D97-AF65-F5344CB8AC3E}">
        <p14:creationId xmlns:p14="http://schemas.microsoft.com/office/powerpoint/2010/main" val="6240303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4DB7EFEB-2626-4C37-AC81-745209915927}"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25</a:t>
            </a:fld>
            <a:endParaRPr lang="en-US"/>
          </a:p>
        </p:txBody>
      </p:sp>
    </p:spTree>
    <p:extLst>
      <p:ext uri="{BB962C8B-B14F-4D97-AF65-F5344CB8AC3E}">
        <p14:creationId xmlns:p14="http://schemas.microsoft.com/office/powerpoint/2010/main" val="934645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u="sng"/>
              <a:t>Gravity</a:t>
            </a:r>
            <a:r>
              <a:rPr lang="en-US" b="1" u="sng" baseline="0"/>
              <a:t> Die Casting:</a:t>
            </a:r>
          </a:p>
          <a:p>
            <a:r>
              <a:rPr lang="en-US" baseline="0"/>
              <a:t>The equipment is less expensive tha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it-IT" sz="1200" kern="1200" baseline="0">
              <a:solidFill>
                <a:schemeClr val="tx1"/>
              </a:solidFill>
              <a:effectLst/>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it-IT" sz="1200">
                <a:effectLst/>
                <a:latin typeface="Calibri" pitchFamily="34" charset="0"/>
                <a:ea typeface="Calibri" pitchFamily="34" charset="0"/>
                <a:cs typeface="Calibri" pitchFamily="34" charset="0"/>
              </a:rPr>
              <a:t>In the cookware industry these are claimed as very high quality crafts.</a:t>
            </a:r>
            <a:endParaRPr lang="en-US" altLang="it-IT" sz="1200">
              <a:effectLst/>
              <a:latin typeface="Calibri" pitchFamily="34" charset="0"/>
              <a:ea typeface="Calibri" pitchFamily="34" charset="0"/>
              <a:cs typeface="Calibri" pitchFamily="34" charset="0"/>
            </a:endParaRPr>
          </a:p>
          <a:p>
            <a:endParaRPr lang="en-US"/>
          </a:p>
          <a:p>
            <a:endParaRPr lang="en-US"/>
          </a:p>
          <a:p>
            <a:r>
              <a:rPr lang="en-US" b="1" u="sng"/>
              <a:t>Pressure Die Casting:</a:t>
            </a:r>
          </a:p>
          <a:p>
            <a:r>
              <a:rPr lang="en-US"/>
              <a:t>Liquid metal is injected at high speed and high pressure into a metal mold</a:t>
            </a:r>
          </a:p>
          <a:p>
            <a:pPr marL="0" indent="0">
              <a:buNone/>
            </a:pPr>
            <a:endParaRPr lang="en-US" baseline="0"/>
          </a:p>
          <a:p>
            <a:pPr marL="0" indent="0">
              <a:buNone/>
            </a:pPr>
            <a:r>
              <a:rPr lang="en-US" baseline="0"/>
              <a:t>The </a:t>
            </a:r>
            <a:r>
              <a:rPr lang="en-US"/>
              <a:t>machine and its dies are very expensive, but it's a much faster process. </a:t>
            </a:r>
          </a:p>
          <a:p>
            <a:pPr marL="0" indent="0">
              <a:buNone/>
            </a:pPr>
            <a:endParaRPr lang="en-US"/>
          </a:p>
          <a:p>
            <a:pPr marL="0" indent="0">
              <a:buNone/>
            </a:pPr>
            <a:r>
              <a:rPr lang="en-US"/>
              <a:t>Special precautions must be taken to avoid too many gas inclusions which causes outgassing (blistering) during subsequent heat-treatment or welding of the casting product. </a:t>
            </a:r>
          </a:p>
          <a:p>
            <a:pPr marL="0" indent="0">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413.0-F</a:t>
            </a:r>
            <a:r>
              <a:rPr lang="en-US" baseline="0"/>
              <a:t> and 5079 are the aluminum allow most commonly used. </a:t>
            </a:r>
            <a:endParaRPr lang="en-US"/>
          </a:p>
          <a:p>
            <a:pPr marL="0" indent="0">
              <a:buNone/>
            </a:pPr>
            <a:endParaRPr lang="en-US"/>
          </a:p>
          <a:p>
            <a:endParaRPr lang="en-US"/>
          </a:p>
        </p:txBody>
      </p:sp>
      <p:sp>
        <p:nvSpPr>
          <p:cNvPr id="4" name="Date Placeholder 3"/>
          <p:cNvSpPr>
            <a:spLocks noGrp="1"/>
          </p:cNvSpPr>
          <p:nvPr>
            <p:ph type="dt" idx="10"/>
          </p:nvPr>
        </p:nvSpPr>
        <p:spPr/>
        <p:txBody>
          <a:bodyPr/>
          <a:lstStyle/>
          <a:p>
            <a:fld id="{7F4C1595-7A7D-42A9-9C4C-EAA1C52F4266}"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26</a:t>
            </a:fld>
            <a:endParaRPr lang="en-US"/>
          </a:p>
        </p:txBody>
      </p:sp>
    </p:spTree>
    <p:extLst>
      <p:ext uri="{BB962C8B-B14F-4D97-AF65-F5344CB8AC3E}">
        <p14:creationId xmlns:p14="http://schemas.microsoft.com/office/powerpoint/2010/main" val="24032750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1" u="sng"/>
          </a:p>
          <a:p>
            <a:r>
              <a:rPr lang="en-US" b="1" u="sng"/>
              <a:t>Facts Follow U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nodized aluminum has had the naturally occurring layer of aluminum oxide thickened by an electrolytic process to create a surface that is hard and non-reactive</a:t>
            </a:r>
            <a:endParaRPr lang="en-US" b="1"/>
          </a:p>
          <a:p>
            <a:endParaRPr lang="en-US" b="1" u="sng"/>
          </a:p>
          <a:p>
            <a:r>
              <a:rPr lang="en-US"/>
              <a:t>Annealing is another oxidizing process, achieved by a heating and cooling cycle that strengthens the steel and makes it more resistant to corrosion.</a:t>
            </a:r>
          </a:p>
          <a:p>
            <a:endParaRPr lang="en-US"/>
          </a:p>
          <a:p>
            <a:r>
              <a:rPr lang="en-US"/>
              <a:t>Aluminum that has been hard anodized is twice as strong as stainless steel to increase lifespan of product. </a:t>
            </a:r>
          </a:p>
          <a:p>
            <a:endParaRPr lang="en-US"/>
          </a:p>
          <a:p>
            <a:r>
              <a:rPr lang="en-US"/>
              <a:t>The surface is inert; thus it does not react with food. It is naturally stick resistant and is resistant to scratches, and food odors. </a:t>
            </a:r>
          </a:p>
          <a:p>
            <a:endParaRPr lang="en-US"/>
          </a:p>
          <a:p>
            <a:r>
              <a:rPr lang="en-US"/>
              <a:t>Hard anodized aluminum forms a high quality aluminum core that is durable and corrosion resistant.</a:t>
            </a:r>
          </a:p>
          <a:p>
            <a:endParaRPr lang="en-US"/>
          </a:p>
        </p:txBody>
      </p:sp>
      <p:sp>
        <p:nvSpPr>
          <p:cNvPr id="4" name="Date Placeholder 3"/>
          <p:cNvSpPr>
            <a:spLocks noGrp="1"/>
          </p:cNvSpPr>
          <p:nvPr>
            <p:ph type="dt" idx="10"/>
          </p:nvPr>
        </p:nvSpPr>
        <p:spPr/>
        <p:txBody>
          <a:bodyPr/>
          <a:lstStyle/>
          <a:p>
            <a:fld id="{E12FF226-09BD-4E4A-93EF-C9938F8AF380}"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27</a:t>
            </a:fld>
            <a:endParaRPr lang="en-US"/>
          </a:p>
        </p:txBody>
      </p:sp>
    </p:spTree>
    <p:extLst>
      <p:ext uri="{BB962C8B-B14F-4D97-AF65-F5344CB8AC3E}">
        <p14:creationId xmlns:p14="http://schemas.microsoft.com/office/powerpoint/2010/main" val="2835295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u="sng"/>
              <a:t>Facts Follow</a:t>
            </a:r>
            <a:r>
              <a:rPr lang="en-US" b="1" u="sng" baseline="0"/>
              <a:t> Up:</a:t>
            </a:r>
            <a:endParaRPr lang="en-US" b="1" u="sng"/>
          </a:p>
          <a:p>
            <a:r>
              <a:rPr lang="en-US"/>
              <a:t>It may</a:t>
            </a:r>
            <a:r>
              <a:rPr lang="en-US" baseline="0"/>
              <a:t> </a:t>
            </a:r>
            <a:r>
              <a:rPr lang="en-US"/>
              <a:t>also contain other elements, such as nickel, molybdenum, columbium or titaniu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Calibri" pitchFamily="34" charset="0"/>
                <a:cs typeface="Calibri" pitchFamily="34" charset="0"/>
              </a:rPr>
              <a:t>Chrome as an alloying element, provides a thin and stable oxide layer at the surface of the metal, that prevents further oxidation (rusting) of the material. This phenomenon is called “passi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latin typeface="Calibri" pitchFamily="34" charset="0"/>
              <a:cs typeface="Calibr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Calibri" pitchFamily="34" charset="0"/>
                <a:cs typeface="Calibri" pitchFamily="34" charset="0"/>
              </a:rPr>
              <a:t>The oxide layer is however weak towards acids and chloride ions (like kitchen or dishwashing machine salt!): these substances can easily break it and cause pitting corrosion of the metal.</a:t>
            </a:r>
          </a:p>
          <a:p>
            <a:r>
              <a:rPr lang="en-GB" sz="1200">
                <a:latin typeface="Calibri" pitchFamily="34" charset="0"/>
                <a:cs typeface="Calibri" pitchFamily="34" charset="0"/>
              </a:rPr>
              <a:t>Stainless steels have Nickel and Chrome, with a low content of carbon (0.08%) </a:t>
            </a:r>
            <a:endParaRPr lang="en-US"/>
          </a:p>
          <a:p>
            <a:endParaRPr lang="en-US"/>
          </a:p>
          <a:p>
            <a:r>
              <a:rPr lang="en-US"/>
              <a:t>Sometimes you'll hear a shorthand way of describing stainless steel, such as "18/10" or "18/8". The first figure indicates the percentage of chromium contained within the stainless. The second number is the percentage of nickel. Nickel is an alloying element used in steel to increase its ability to be formed.</a:t>
            </a:r>
          </a:p>
          <a:p>
            <a:endParaRPr lang="en-US"/>
          </a:p>
          <a:p>
            <a:r>
              <a:rPr lang="en-US"/>
              <a:t>Top of range stainless steel utensils combine other metals into the body. Those are then named i.e. Two-ply up to nine-ply (depending on the manufacturer and the desired characteristics ).</a:t>
            </a:r>
            <a:r>
              <a:rPr lang="en-US" baseline="0"/>
              <a:t> </a:t>
            </a:r>
            <a:r>
              <a:rPr lang="en-US"/>
              <a:t>Advantages are mainly improved heat conductivity</a:t>
            </a:r>
          </a:p>
          <a:p>
            <a:endParaRPr lang="en-US"/>
          </a:p>
          <a:p>
            <a:r>
              <a:rPr lang="en-US" b="1" u="sng"/>
              <a:t>Important Detail Follow Up:</a:t>
            </a:r>
          </a:p>
          <a:p>
            <a:pPr>
              <a:spcAft>
                <a:spcPts val="600"/>
              </a:spcAft>
            </a:pPr>
            <a:r>
              <a:rPr lang="en-GB" sz="1200">
                <a:latin typeface="Calibri" pitchFamily="34" charset="0"/>
                <a:cs typeface="Calibri" pitchFamily="34" charset="0"/>
              </a:rPr>
              <a:t>Deep grit-blasting is required to attain good performances of the coatings on these substrates.</a:t>
            </a:r>
            <a:endParaRPr lang="en-US" sz="1200">
              <a:latin typeface="Calibri" pitchFamily="34" charset="0"/>
              <a:cs typeface="Calibri" pitchFamily="34" charset="0"/>
            </a:endParaRPr>
          </a:p>
          <a:p>
            <a:endParaRPr lang="en-SG"/>
          </a:p>
          <a:p>
            <a:pPr marL="0" marR="0" lvl="0" indent="0" algn="l" defTabSz="914400" rtl="0" eaLnBrk="1" fontAlgn="auto" latinLnBrk="0" hangingPunct="1">
              <a:lnSpc>
                <a:spcPct val="100000"/>
              </a:lnSpc>
              <a:spcBef>
                <a:spcPts val="0"/>
              </a:spcBef>
              <a:spcAft>
                <a:spcPts val="0"/>
              </a:spcAft>
              <a:buClrTx/>
              <a:buSzTx/>
              <a:buFontTx/>
              <a:buNone/>
              <a:tabLst/>
              <a:defRPr/>
            </a:pPr>
            <a:r>
              <a:rPr lang="en-US"/>
              <a:t>Additionally, it takes more time and energy to cure the non-stick finish in stainless steel due to its less-conductive nature.</a:t>
            </a:r>
          </a:p>
          <a:p>
            <a:endParaRPr lang="en-SG"/>
          </a:p>
          <a:p>
            <a:endParaRPr lang="en-US"/>
          </a:p>
          <a:p>
            <a:endParaRPr lang="en-US"/>
          </a:p>
        </p:txBody>
      </p:sp>
      <p:sp>
        <p:nvSpPr>
          <p:cNvPr id="4" name="Date Placeholder 3"/>
          <p:cNvSpPr>
            <a:spLocks noGrp="1"/>
          </p:cNvSpPr>
          <p:nvPr>
            <p:ph type="dt" idx="10"/>
          </p:nvPr>
        </p:nvSpPr>
        <p:spPr/>
        <p:txBody>
          <a:bodyPr/>
          <a:lstStyle/>
          <a:p>
            <a:fld id="{EEB18340-C2C5-4EB6-AFEE-25E0B018DC2A}"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28</a:t>
            </a:fld>
            <a:endParaRPr lang="en-US"/>
          </a:p>
        </p:txBody>
      </p:sp>
    </p:spTree>
    <p:extLst>
      <p:ext uri="{BB962C8B-B14F-4D97-AF65-F5344CB8AC3E}">
        <p14:creationId xmlns:p14="http://schemas.microsoft.com/office/powerpoint/2010/main" val="3662428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1"/>
          </a:p>
        </p:txBody>
      </p:sp>
      <p:sp>
        <p:nvSpPr>
          <p:cNvPr id="4" name="Date Placeholder 3"/>
          <p:cNvSpPr>
            <a:spLocks noGrp="1"/>
          </p:cNvSpPr>
          <p:nvPr>
            <p:ph type="dt" idx="10"/>
          </p:nvPr>
        </p:nvSpPr>
        <p:spPr/>
        <p:txBody>
          <a:bodyPr/>
          <a:lstStyle/>
          <a:p>
            <a:fld id="{B5035E5B-2DDB-479C-93EA-F1D421411EDC}"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5</a:t>
            </a:fld>
            <a:endParaRPr lang="en-US"/>
          </a:p>
        </p:txBody>
      </p:sp>
    </p:spTree>
    <p:extLst>
      <p:ext uri="{BB962C8B-B14F-4D97-AF65-F5344CB8AC3E}">
        <p14:creationId xmlns:p14="http://schemas.microsoft.com/office/powerpoint/2010/main" val="38996473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aseline="0"/>
          </a:p>
          <a:p>
            <a:endParaRPr lang="en-US"/>
          </a:p>
        </p:txBody>
      </p:sp>
      <p:sp>
        <p:nvSpPr>
          <p:cNvPr id="4" name="Date Placeholder 3"/>
          <p:cNvSpPr>
            <a:spLocks noGrp="1"/>
          </p:cNvSpPr>
          <p:nvPr>
            <p:ph type="dt" idx="10"/>
          </p:nvPr>
        </p:nvSpPr>
        <p:spPr/>
        <p:txBody>
          <a:bodyPr/>
          <a:lstStyle/>
          <a:p>
            <a:fld id="{5DE6E9EA-8D61-4868-91B5-769AB9001907}"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29</a:t>
            </a:fld>
            <a:endParaRPr lang="en-US"/>
          </a:p>
        </p:txBody>
      </p:sp>
    </p:spTree>
    <p:extLst>
      <p:ext uri="{BB962C8B-B14F-4D97-AF65-F5344CB8AC3E}">
        <p14:creationId xmlns:p14="http://schemas.microsoft.com/office/powerpoint/2010/main" val="101545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aseline="0"/>
          </a:p>
          <a:p>
            <a:pPr marL="0" marR="0">
              <a:spcBef>
                <a:spcPts val="0"/>
              </a:spcBef>
              <a:spcAft>
                <a:spcPts val="0"/>
              </a:spcAft>
            </a:pPr>
            <a:r>
              <a:rPr lang="en-US" sz="1800">
                <a:solidFill>
                  <a:srgbClr val="454545"/>
                </a:solidFill>
                <a:effectLst/>
                <a:latin typeface="-apple-system"/>
                <a:ea typeface="Calibri" panose="020F0502020204030204" pitchFamily="34" charset="0"/>
              </a:rPr>
              <a:t>TFS = Tin Free Steel</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solidFill>
                  <a:srgbClr val="454545"/>
                </a:solidFill>
                <a:effectLst/>
                <a:latin typeface="-apple-system"/>
                <a:ea typeface="Calibri" panose="020F0502020204030204" pitchFamily="34" charset="0"/>
              </a:rPr>
              <a:t>Electrolytic Chromium Coated Steel (ECCS) = a sheet or strip of steel electrolytically coated with a layer of chrome.</a:t>
            </a:r>
            <a:endParaRPr lang="en-US" sz="1800">
              <a:effectLst/>
              <a:latin typeface="Calibri" panose="020F0502020204030204" pitchFamily="34" charset="0"/>
              <a:ea typeface="Calibri" panose="020F0502020204030204" pitchFamily="34" charset="0"/>
            </a:endParaRPr>
          </a:p>
          <a:p>
            <a:endParaRPr lang="en-US"/>
          </a:p>
        </p:txBody>
      </p:sp>
      <p:sp>
        <p:nvSpPr>
          <p:cNvPr id="4" name="Date Placeholder 3"/>
          <p:cNvSpPr>
            <a:spLocks noGrp="1"/>
          </p:cNvSpPr>
          <p:nvPr>
            <p:ph type="dt" idx="10"/>
          </p:nvPr>
        </p:nvSpPr>
        <p:spPr/>
        <p:txBody>
          <a:bodyPr/>
          <a:lstStyle/>
          <a:p>
            <a:fld id="{5DE6E9EA-8D61-4868-91B5-769AB9001907}"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30</a:t>
            </a:fld>
            <a:endParaRPr lang="en-US"/>
          </a:p>
        </p:txBody>
      </p:sp>
    </p:spTree>
    <p:extLst>
      <p:ext uri="{BB962C8B-B14F-4D97-AF65-F5344CB8AC3E}">
        <p14:creationId xmlns:p14="http://schemas.microsoft.com/office/powerpoint/2010/main" val="36684747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aseline="0"/>
          </a:p>
          <a:p>
            <a:endParaRPr lang="en-US"/>
          </a:p>
        </p:txBody>
      </p:sp>
      <p:sp>
        <p:nvSpPr>
          <p:cNvPr id="4" name="Date Placeholder 3"/>
          <p:cNvSpPr>
            <a:spLocks noGrp="1"/>
          </p:cNvSpPr>
          <p:nvPr>
            <p:ph type="dt" idx="10"/>
          </p:nvPr>
        </p:nvSpPr>
        <p:spPr/>
        <p:txBody>
          <a:bodyPr/>
          <a:lstStyle/>
          <a:p>
            <a:fld id="{5DE6E9EA-8D61-4868-91B5-769AB9001907}"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31</a:t>
            </a:fld>
            <a:endParaRPr lang="en-US"/>
          </a:p>
        </p:txBody>
      </p:sp>
    </p:spTree>
    <p:extLst>
      <p:ext uri="{BB962C8B-B14F-4D97-AF65-F5344CB8AC3E}">
        <p14:creationId xmlns:p14="http://schemas.microsoft.com/office/powerpoint/2010/main" val="10275803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Remind audience of the curing process mentioned earlier slides</a:t>
            </a:r>
          </a:p>
          <a:p>
            <a:endParaRPr lang="en-US"/>
          </a:p>
        </p:txBody>
      </p:sp>
      <p:sp>
        <p:nvSpPr>
          <p:cNvPr id="4" name="Date Placeholder 3"/>
          <p:cNvSpPr>
            <a:spLocks noGrp="1"/>
          </p:cNvSpPr>
          <p:nvPr>
            <p:ph type="dt" idx="10"/>
          </p:nvPr>
        </p:nvSpPr>
        <p:spPr/>
        <p:txBody>
          <a:bodyPr/>
          <a:lstStyle/>
          <a:p>
            <a:fld id="{59C2ECAA-F771-4290-9AA3-4DABBA7FAE84}"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33</a:t>
            </a:fld>
            <a:endParaRPr lang="en-US"/>
          </a:p>
        </p:txBody>
      </p:sp>
    </p:spTree>
    <p:extLst>
      <p:ext uri="{BB962C8B-B14F-4D97-AF65-F5344CB8AC3E}">
        <p14:creationId xmlns:p14="http://schemas.microsoft.com/office/powerpoint/2010/main" val="25054848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905DEDCB-8CD1-4A6A-8176-B84CA94BBD8B}"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37</a:t>
            </a:fld>
            <a:endParaRPr lang="en-US"/>
          </a:p>
        </p:txBody>
      </p:sp>
    </p:spTree>
    <p:extLst>
      <p:ext uri="{BB962C8B-B14F-4D97-AF65-F5344CB8AC3E}">
        <p14:creationId xmlns:p14="http://schemas.microsoft.com/office/powerpoint/2010/main" val="3068173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1"/>
          </a:p>
        </p:txBody>
      </p:sp>
      <p:sp>
        <p:nvSpPr>
          <p:cNvPr id="4" name="Date Placeholder 3"/>
          <p:cNvSpPr>
            <a:spLocks noGrp="1"/>
          </p:cNvSpPr>
          <p:nvPr>
            <p:ph type="dt" idx="10"/>
          </p:nvPr>
        </p:nvSpPr>
        <p:spPr/>
        <p:txBody>
          <a:bodyPr/>
          <a:lstStyle/>
          <a:p>
            <a:fld id="{7FF6DBBC-A000-4BC9-8A51-74096C2DB771}"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6</a:t>
            </a:fld>
            <a:endParaRPr lang="en-US"/>
          </a:p>
        </p:txBody>
      </p:sp>
    </p:spTree>
    <p:extLst>
      <p:ext uri="{BB962C8B-B14F-4D97-AF65-F5344CB8AC3E}">
        <p14:creationId xmlns:p14="http://schemas.microsoft.com/office/powerpoint/2010/main" val="2293898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Have them reference  and feel a piece of paper as an example </a:t>
            </a:r>
            <a:r>
              <a:rPr lang="en-US" err="1"/>
              <a:t>fo</a:t>
            </a:r>
            <a:r>
              <a:rPr lang="en-US"/>
              <a:t> the thickness of a coating</a:t>
            </a:r>
          </a:p>
        </p:txBody>
      </p:sp>
      <p:sp>
        <p:nvSpPr>
          <p:cNvPr id="4" name="Date Placeholder 3"/>
          <p:cNvSpPr>
            <a:spLocks noGrp="1"/>
          </p:cNvSpPr>
          <p:nvPr>
            <p:ph type="dt" idx="10"/>
          </p:nvPr>
        </p:nvSpPr>
        <p:spPr/>
        <p:txBody>
          <a:bodyPr/>
          <a:lstStyle/>
          <a:p>
            <a:fld id="{0B2370DA-1F0C-4191-9CF5-616323628459}"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7</a:t>
            </a:fld>
            <a:endParaRPr lang="en-US"/>
          </a:p>
        </p:txBody>
      </p:sp>
    </p:spTree>
    <p:extLst>
      <p:ext uri="{BB962C8B-B14F-4D97-AF65-F5344CB8AC3E}">
        <p14:creationId xmlns:p14="http://schemas.microsoft.com/office/powerpoint/2010/main" val="840628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baseline="0"/>
              <a:t>Mention that they will see improper cure during the problem solving section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Date Placeholder 3"/>
          <p:cNvSpPr>
            <a:spLocks noGrp="1"/>
          </p:cNvSpPr>
          <p:nvPr>
            <p:ph type="dt" idx="10"/>
          </p:nvPr>
        </p:nvSpPr>
        <p:spPr/>
        <p:txBody>
          <a:bodyPr/>
          <a:lstStyle/>
          <a:p>
            <a:fld id="{0675BA20-FD30-4935-839A-FF764BFC2358}"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8</a:t>
            </a:fld>
            <a:endParaRPr lang="en-US"/>
          </a:p>
        </p:txBody>
      </p:sp>
    </p:spTree>
    <p:extLst>
      <p:ext uri="{BB962C8B-B14F-4D97-AF65-F5344CB8AC3E}">
        <p14:creationId xmlns:p14="http://schemas.microsoft.com/office/powerpoint/2010/main" val="3273906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r>
              <a:rPr lang="en-US" b="1"/>
              <a:t>Please define PTFE, PFOE and PFOA in simple terms. </a:t>
            </a:r>
            <a:r>
              <a:rPr lang="en-US"/>
              <a:t>What does it mean when we say a coating is PTFE-free, PFOE-free and/or PFOA-free? How are the chemicals removed? What do you use in place of PFOA, PFOE or PTFE? Are the replacements safe?</a:t>
            </a:r>
          </a:p>
          <a:p>
            <a:pPr lvl="0"/>
            <a:endParaRPr lang="en-US"/>
          </a:p>
          <a:p>
            <a:pPr defTabSz="888614"/>
            <a:r>
              <a:rPr lang="en-US"/>
              <a:t>Regarding PFOA, PTFE and PFOE:  why do you decide to use one and not another? Why do you need to use chemicals in non-stick coatings?</a:t>
            </a:r>
          </a:p>
          <a:p>
            <a:pPr lvl="0"/>
            <a:endParaRPr lang="en-US"/>
          </a:p>
          <a:p>
            <a:r>
              <a:rPr lang="en-US"/>
              <a:t>PFOA is an important chemical, crucial to the manufacture of materials used to make a wide variety of products.  </a:t>
            </a:r>
          </a:p>
          <a:p>
            <a:r>
              <a:rPr lang="en-US"/>
              <a:t>What little PFOA may have been in the dispersions used to make a coating is decomposed and incinerated by the curing (baking) process through which all non-stick-coated products pass — to the point at which it is virtually undetectable in the toughest migration tests. PFOA is destroyed in one second at 500° F (260° C), and high-quality non-stick coatings are all cured at very high temperatures, usually around 800°F/425°C for 10 minutes. So the conditions are such that the PFOA is destroyed in the curing process.  In every study of non-stick-coated cookware by every regulatory agency worldwide, conducted under normal cooking conditions, the results have been the same: There is no detectable PFOA.  It has been, is, and will always be safe to use non-stick cookware, bakeware and small appliances as intended.</a:t>
            </a:r>
          </a:p>
          <a:p>
            <a:pPr lvl="0"/>
            <a:endParaRPr lang="en-US"/>
          </a:p>
          <a:p>
            <a:r>
              <a:rPr lang="en-US" b="1"/>
              <a:t>Is there any chance fluoropolymers or non-stick coatings will be banned?</a:t>
            </a:r>
          </a:p>
          <a:p>
            <a:r>
              <a:rPr lang="en-US"/>
              <a:t>Absolutely not! Fluoropolymers and non-stick coatings are here to stay. Remember, PFOA is not the same as PTFE. It is not used to make non-stick-coated housewares products, it is just a component in the manufacturing process of fluoropolymers, such as PTFE. In addition, both fluoropolymers and non-stick coatings, for many years, have made significant contributions to human well-being in hundreds of industries, including cookware, bakeware and small appliances, and life would be far less easy, less comfortable, and less worry-free without them.</a:t>
            </a:r>
          </a:p>
          <a:p>
            <a:endParaRPr lang="en-US"/>
          </a:p>
          <a:p>
            <a:r>
              <a:rPr lang="en-US"/>
              <a:t>What is changing are the methods used to manufacture such products, which, as mentioned above, has already reduced the emissions of PFOA significantly, and will virtually eliminate emissions in the near future.</a:t>
            </a:r>
          </a:p>
          <a:p>
            <a:pPr lvl="0"/>
            <a:endParaRPr lang="en-US"/>
          </a:p>
          <a:p>
            <a:r>
              <a:rPr lang="en-US" b="1"/>
              <a:t>What can we expect in the future?</a:t>
            </a:r>
          </a:p>
          <a:p>
            <a:r>
              <a:rPr lang="en-US"/>
              <a:t>Overall, you can expect the virtual elimination of emissions of PFOA, with little or no harm done to the industries that manufacture and use fluoropolymers, and no inconvenience to the millions and millions of consumers around the world who depend on and benefit greatly from products that contain fluoropolymers. </a:t>
            </a:r>
          </a:p>
          <a:p>
            <a:pPr lvl="0"/>
            <a:endParaRPr lang="en-US"/>
          </a:p>
          <a:p>
            <a:r>
              <a:rPr lang="en-US" b="1"/>
              <a:t>What's the bottom line?</a:t>
            </a:r>
          </a:p>
          <a:p>
            <a:r>
              <a:rPr lang="en-US"/>
              <a:t>non-stick coatings were introduced into the housewares market about 50 years ago. Since then, billions of pieces of cookware, bakeware and small electrics with non-stick coatings have been used around the world — virtually problem-free.</a:t>
            </a:r>
          </a:p>
          <a:p>
            <a:endParaRPr lang="en-US"/>
          </a:p>
          <a:p>
            <a:r>
              <a:rPr lang="en-US"/>
              <a:t>All available information tells us that non-stick-coated housewares are indeed among the safest and most useful items ever introduced into commerce. So you can be confident when talking to your customers or addressing any concerns on this issue. </a:t>
            </a:r>
          </a:p>
          <a:p>
            <a:endParaRPr lang="en-US"/>
          </a:p>
        </p:txBody>
      </p:sp>
      <p:sp>
        <p:nvSpPr>
          <p:cNvPr id="4" name="Date Placeholder 3"/>
          <p:cNvSpPr>
            <a:spLocks noGrp="1"/>
          </p:cNvSpPr>
          <p:nvPr>
            <p:ph type="dt" idx="10"/>
          </p:nvPr>
        </p:nvSpPr>
        <p:spPr/>
        <p:txBody>
          <a:bodyPr/>
          <a:lstStyle/>
          <a:p>
            <a:fld id="{C62412F9-F9BA-423D-B741-3DF675AB5C8B}"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10</a:t>
            </a:fld>
            <a:endParaRPr lang="en-US"/>
          </a:p>
        </p:txBody>
      </p:sp>
    </p:spTree>
    <p:extLst>
      <p:ext uri="{BB962C8B-B14F-4D97-AF65-F5344CB8AC3E}">
        <p14:creationId xmlns:p14="http://schemas.microsoft.com/office/powerpoint/2010/main" val="24898845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aseline="0"/>
              <a:t>Speak to chemical etch process</a:t>
            </a:r>
            <a:endParaRPr lang="en-US"/>
          </a:p>
          <a:p>
            <a:endParaRPr lang="en-US"/>
          </a:p>
        </p:txBody>
      </p:sp>
      <p:sp>
        <p:nvSpPr>
          <p:cNvPr id="4" name="Date Placeholder 3"/>
          <p:cNvSpPr>
            <a:spLocks noGrp="1"/>
          </p:cNvSpPr>
          <p:nvPr>
            <p:ph type="dt" idx="10"/>
          </p:nvPr>
        </p:nvSpPr>
        <p:spPr/>
        <p:txBody>
          <a:bodyPr/>
          <a:lstStyle/>
          <a:p>
            <a:fld id="{F337A0D2-C6C4-47D3-8306-F3BCDDE50F1F}"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11</a:t>
            </a:fld>
            <a:endParaRPr lang="en-US"/>
          </a:p>
        </p:txBody>
      </p:sp>
    </p:spTree>
    <p:extLst>
      <p:ext uri="{BB962C8B-B14F-4D97-AF65-F5344CB8AC3E}">
        <p14:creationId xmlns:p14="http://schemas.microsoft.com/office/powerpoint/2010/main" val="510522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aseline="0"/>
              <a:t>Speak to chemical etch process</a:t>
            </a:r>
            <a:endParaRPr lang="en-US"/>
          </a:p>
          <a:p>
            <a:endParaRPr lang="en-US"/>
          </a:p>
        </p:txBody>
      </p:sp>
      <p:sp>
        <p:nvSpPr>
          <p:cNvPr id="4" name="Date Placeholder 3"/>
          <p:cNvSpPr>
            <a:spLocks noGrp="1"/>
          </p:cNvSpPr>
          <p:nvPr>
            <p:ph type="dt" idx="10"/>
          </p:nvPr>
        </p:nvSpPr>
        <p:spPr/>
        <p:txBody>
          <a:bodyPr/>
          <a:lstStyle/>
          <a:p>
            <a:fld id="{48CC9771-EB6B-48FA-819B-4AD86C39767A}"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14</a:t>
            </a:fld>
            <a:endParaRPr lang="en-US"/>
          </a:p>
        </p:txBody>
      </p:sp>
    </p:spTree>
    <p:extLst>
      <p:ext uri="{BB962C8B-B14F-4D97-AF65-F5344CB8AC3E}">
        <p14:creationId xmlns:p14="http://schemas.microsoft.com/office/powerpoint/2010/main" val="4036074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A88DBB6F-AFA3-4476-8381-389E88AE648B}" type="datetime9">
              <a:rPr lang="en-US" smtClean="0"/>
              <a:t>11/13/2025 8:51:30 AM</a:t>
            </a:fld>
            <a:endParaRPr lang="en-US"/>
          </a:p>
        </p:txBody>
      </p:sp>
      <p:sp>
        <p:nvSpPr>
          <p:cNvPr id="5" name="Slide Number Placeholder 4"/>
          <p:cNvSpPr>
            <a:spLocks noGrp="1"/>
          </p:cNvSpPr>
          <p:nvPr>
            <p:ph type="sldNum" sz="quarter" idx="11"/>
          </p:nvPr>
        </p:nvSpPr>
        <p:spPr/>
        <p:txBody>
          <a:bodyPr/>
          <a:lstStyle/>
          <a:p>
            <a:fld id="{611B7F05-7B39-E647-A9E3-967587119697}" type="slidenum">
              <a:rPr lang="en-US" smtClean="0"/>
              <a:pPr/>
              <a:t>15</a:t>
            </a:fld>
            <a:endParaRPr lang="en-US"/>
          </a:p>
        </p:txBody>
      </p:sp>
    </p:spTree>
    <p:extLst>
      <p:ext uri="{BB962C8B-B14F-4D97-AF65-F5344CB8AC3E}">
        <p14:creationId xmlns:p14="http://schemas.microsoft.com/office/powerpoint/2010/main" val="11770647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12801" y="2947134"/>
            <a:ext cx="8455769" cy="984333"/>
          </a:xfrm>
        </p:spPr>
        <p:txBody>
          <a:bodyPr anchor="b">
            <a:normAutofit/>
          </a:bodyPr>
          <a:lstStyle>
            <a:lvl1pPr>
              <a:defRPr>
                <a:solidFill>
                  <a:schemeClr val="tx1"/>
                </a:solidFill>
              </a:defRPr>
            </a:lvl1pPr>
          </a:lstStyle>
          <a:p>
            <a:r>
              <a:rPr lang="en-US"/>
              <a:t>Click to edit Master title style</a:t>
            </a:r>
          </a:p>
        </p:txBody>
      </p:sp>
      <p:sp>
        <p:nvSpPr>
          <p:cNvPr id="3" name="Subtitle 2"/>
          <p:cNvSpPr>
            <a:spLocks noGrp="1"/>
          </p:cNvSpPr>
          <p:nvPr>
            <p:ph type="subTitle" idx="1"/>
          </p:nvPr>
        </p:nvSpPr>
        <p:spPr>
          <a:xfrm>
            <a:off x="312801" y="3999202"/>
            <a:ext cx="8455769" cy="640767"/>
          </a:xfrm>
        </p:spPr>
        <p:txBody>
          <a:bodyPr>
            <a:norm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312801" y="4779106"/>
            <a:ext cx="3303002" cy="365125"/>
          </a:xfrm>
          <a:prstGeom prst="rect">
            <a:avLst/>
          </a:prstGeom>
        </p:spPr>
        <p:txBody>
          <a:bodyPr lIns="0" tIns="0" rIns="0" bIns="0">
            <a:normAutofit/>
          </a:bodyPr>
          <a:lstStyle>
            <a:lvl1pPr>
              <a:defRPr sz="1000">
                <a:solidFill>
                  <a:schemeClr val="tx1"/>
                </a:solidFill>
                <a:latin typeface="+mn-lt"/>
                <a:cs typeface="Arial"/>
              </a:defRPr>
            </a:lvl1pPr>
          </a:lstStyle>
          <a:p>
            <a:endParaRPr lang="en-US"/>
          </a:p>
        </p:txBody>
      </p:sp>
      <p:pic>
        <p:nvPicPr>
          <p:cNvPr id="14" name="Picture 13">
            <a:extLst>
              <a:ext uri="{FF2B5EF4-FFF2-40B4-BE49-F238E27FC236}">
                <a16:creationId xmlns:a16="http://schemas.microsoft.com/office/drawing/2014/main" id="{038F46E6-B30F-4BB4-8F82-08AD4C6EA8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71200" y="5851211"/>
            <a:ext cx="1060449" cy="822309"/>
          </a:xfrm>
          <a:prstGeom prst="rect">
            <a:avLst/>
          </a:prstGeom>
        </p:spPr>
      </p:pic>
      <p:sp>
        <p:nvSpPr>
          <p:cNvPr id="12" name="Rectangle 11">
            <a:extLst>
              <a:ext uri="{FF2B5EF4-FFF2-40B4-BE49-F238E27FC236}">
                <a16:creationId xmlns:a16="http://schemas.microsoft.com/office/drawing/2014/main" id="{0737FA42-C06C-4BE0-AE35-B6EF2728CBF5}"/>
              </a:ext>
            </a:extLst>
          </p:cNvPr>
          <p:cNvSpPr/>
          <p:nvPr userDrawn="1"/>
        </p:nvSpPr>
        <p:spPr>
          <a:xfrm>
            <a:off x="8483628" y="0"/>
            <a:ext cx="3705197" cy="48212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3">
            <a:extLst>
              <a:ext uri="{FF2B5EF4-FFF2-40B4-BE49-F238E27FC236}">
                <a16:creationId xmlns:a16="http://schemas.microsoft.com/office/drawing/2014/main" id="{9FCFEBA5-E832-4F45-9A7E-E488F4C2670A}"/>
              </a:ext>
            </a:extLst>
          </p:cNvPr>
          <p:cNvSpPr/>
          <p:nvPr userDrawn="1"/>
        </p:nvSpPr>
        <p:spPr>
          <a:xfrm>
            <a:off x="0" y="316"/>
            <a:ext cx="9074878" cy="482776"/>
          </a:xfrm>
          <a:custGeom>
            <a:avLst/>
            <a:gdLst>
              <a:gd name="connsiteX0" fmla="*/ 0 w 6709251"/>
              <a:gd name="connsiteY0" fmla="*/ 0 h 182880"/>
              <a:gd name="connsiteX1" fmla="*/ 6709251 w 6709251"/>
              <a:gd name="connsiteY1" fmla="*/ 0 h 182880"/>
              <a:gd name="connsiteX2" fmla="*/ 6709251 w 6709251"/>
              <a:gd name="connsiteY2" fmla="*/ 182880 h 182880"/>
              <a:gd name="connsiteX3" fmla="*/ 0 w 6709251"/>
              <a:gd name="connsiteY3" fmla="*/ 182880 h 182880"/>
              <a:gd name="connsiteX4" fmla="*/ 0 w 6709251"/>
              <a:gd name="connsiteY4" fmla="*/ 0 h 182880"/>
              <a:gd name="connsiteX0" fmla="*/ 0 w 7073510"/>
              <a:gd name="connsiteY0" fmla="*/ 0 h 182880"/>
              <a:gd name="connsiteX1" fmla="*/ 7073510 w 7073510"/>
              <a:gd name="connsiteY1" fmla="*/ 0 h 182880"/>
              <a:gd name="connsiteX2" fmla="*/ 6709251 w 7073510"/>
              <a:gd name="connsiteY2" fmla="*/ 182880 h 182880"/>
              <a:gd name="connsiteX3" fmla="*/ 0 w 7073510"/>
              <a:gd name="connsiteY3" fmla="*/ 182880 h 182880"/>
              <a:gd name="connsiteX4" fmla="*/ 0 w 7073510"/>
              <a:gd name="connsiteY4" fmla="*/ 0 h 182880"/>
              <a:gd name="connsiteX0" fmla="*/ 0 w 8678702"/>
              <a:gd name="connsiteY0" fmla="*/ 0 h 182880"/>
              <a:gd name="connsiteX1" fmla="*/ 8678702 w 8678702"/>
              <a:gd name="connsiteY1" fmla="*/ 0 h 182880"/>
              <a:gd name="connsiteX2" fmla="*/ 8314443 w 8678702"/>
              <a:gd name="connsiteY2" fmla="*/ 182880 h 182880"/>
              <a:gd name="connsiteX3" fmla="*/ 1605192 w 8678702"/>
              <a:gd name="connsiteY3" fmla="*/ 182880 h 182880"/>
              <a:gd name="connsiteX4" fmla="*/ 0 w 8678702"/>
              <a:gd name="connsiteY4" fmla="*/ 0 h 182880"/>
              <a:gd name="connsiteX0" fmla="*/ 0 w 8678702"/>
              <a:gd name="connsiteY0" fmla="*/ 0 h 186220"/>
              <a:gd name="connsiteX1" fmla="*/ 8678702 w 8678702"/>
              <a:gd name="connsiteY1" fmla="*/ 0 h 186220"/>
              <a:gd name="connsiteX2" fmla="*/ 8314443 w 8678702"/>
              <a:gd name="connsiteY2" fmla="*/ 182880 h 186220"/>
              <a:gd name="connsiteX3" fmla="*/ 6661 w 8678702"/>
              <a:gd name="connsiteY3" fmla="*/ 186220 h 186220"/>
              <a:gd name="connsiteX4" fmla="*/ 0 w 8678702"/>
              <a:gd name="connsiteY4" fmla="*/ 0 h 186220"/>
              <a:gd name="connsiteX0" fmla="*/ 133211 w 8672041"/>
              <a:gd name="connsiteY0" fmla="*/ 50097 h 186220"/>
              <a:gd name="connsiteX1" fmla="*/ 8672041 w 8672041"/>
              <a:gd name="connsiteY1" fmla="*/ 0 h 186220"/>
              <a:gd name="connsiteX2" fmla="*/ 8307782 w 8672041"/>
              <a:gd name="connsiteY2" fmla="*/ 182880 h 186220"/>
              <a:gd name="connsiteX3" fmla="*/ 0 w 8672041"/>
              <a:gd name="connsiteY3" fmla="*/ 186220 h 186220"/>
              <a:gd name="connsiteX4" fmla="*/ 133211 w 8672041"/>
              <a:gd name="connsiteY4" fmla="*/ 50097 h 186220"/>
              <a:gd name="connsiteX0" fmla="*/ 3330 w 8672041"/>
              <a:gd name="connsiteY0" fmla="*/ 3340 h 186220"/>
              <a:gd name="connsiteX1" fmla="*/ 8672041 w 8672041"/>
              <a:gd name="connsiteY1" fmla="*/ 0 h 186220"/>
              <a:gd name="connsiteX2" fmla="*/ 8307782 w 8672041"/>
              <a:gd name="connsiteY2" fmla="*/ 182880 h 186220"/>
              <a:gd name="connsiteX3" fmla="*/ 0 w 8672041"/>
              <a:gd name="connsiteY3" fmla="*/ 186220 h 186220"/>
              <a:gd name="connsiteX4" fmla="*/ 3330 w 8672041"/>
              <a:gd name="connsiteY4" fmla="*/ 3340 h 186220"/>
              <a:gd name="connsiteX0" fmla="*/ 3330 w 8672041"/>
              <a:gd name="connsiteY0" fmla="*/ 3340 h 186220"/>
              <a:gd name="connsiteX1" fmla="*/ 8672041 w 8672041"/>
              <a:gd name="connsiteY1" fmla="*/ 0 h 186220"/>
              <a:gd name="connsiteX2" fmla="*/ 8307782 w 8672041"/>
              <a:gd name="connsiteY2" fmla="*/ 182880 h 186220"/>
              <a:gd name="connsiteX3" fmla="*/ 0 w 8672041"/>
              <a:gd name="connsiteY3" fmla="*/ 186220 h 186220"/>
              <a:gd name="connsiteX4" fmla="*/ 3330 w 8672041"/>
              <a:gd name="connsiteY4" fmla="*/ 3340 h 186220"/>
              <a:gd name="connsiteX0" fmla="*/ 0 w 8674979"/>
              <a:gd name="connsiteY0" fmla="*/ 3340 h 186220"/>
              <a:gd name="connsiteX1" fmla="*/ 8674979 w 8674979"/>
              <a:gd name="connsiteY1" fmla="*/ 0 h 186220"/>
              <a:gd name="connsiteX2" fmla="*/ 8310720 w 8674979"/>
              <a:gd name="connsiteY2" fmla="*/ 182880 h 186220"/>
              <a:gd name="connsiteX3" fmla="*/ 2938 w 8674979"/>
              <a:gd name="connsiteY3" fmla="*/ 186220 h 186220"/>
              <a:gd name="connsiteX4" fmla="*/ 0 w 8674979"/>
              <a:gd name="connsiteY4" fmla="*/ 3340 h 186220"/>
              <a:gd name="connsiteX0" fmla="*/ 0 w 8674979"/>
              <a:gd name="connsiteY0" fmla="*/ 0 h 189166"/>
              <a:gd name="connsiteX1" fmla="*/ 8674979 w 8674979"/>
              <a:gd name="connsiteY1" fmla="*/ 2946 h 189166"/>
              <a:gd name="connsiteX2" fmla="*/ 8310720 w 8674979"/>
              <a:gd name="connsiteY2" fmla="*/ 185826 h 189166"/>
              <a:gd name="connsiteX3" fmla="*/ 2938 w 8674979"/>
              <a:gd name="connsiteY3" fmla="*/ 189166 h 189166"/>
              <a:gd name="connsiteX4" fmla="*/ 0 w 8674979"/>
              <a:gd name="connsiteY4" fmla="*/ 0 h 189166"/>
              <a:gd name="connsiteX0" fmla="*/ 0 w 8674979"/>
              <a:gd name="connsiteY0" fmla="*/ 444 h 189610"/>
              <a:gd name="connsiteX1" fmla="*/ 8674979 w 8674979"/>
              <a:gd name="connsiteY1" fmla="*/ 0 h 189610"/>
              <a:gd name="connsiteX2" fmla="*/ 8310720 w 8674979"/>
              <a:gd name="connsiteY2" fmla="*/ 186270 h 189610"/>
              <a:gd name="connsiteX3" fmla="*/ 2938 w 8674979"/>
              <a:gd name="connsiteY3" fmla="*/ 189610 h 189610"/>
              <a:gd name="connsiteX4" fmla="*/ 0 w 8674979"/>
              <a:gd name="connsiteY4" fmla="*/ 444 h 189610"/>
              <a:gd name="connsiteX0" fmla="*/ 0 w 8674979"/>
              <a:gd name="connsiteY0" fmla="*/ 444 h 189660"/>
              <a:gd name="connsiteX1" fmla="*/ 8674979 w 8674979"/>
              <a:gd name="connsiteY1" fmla="*/ 0 h 189660"/>
              <a:gd name="connsiteX2" fmla="*/ 8310720 w 8674979"/>
              <a:gd name="connsiteY2" fmla="*/ 189660 h 189660"/>
              <a:gd name="connsiteX3" fmla="*/ 2938 w 8674979"/>
              <a:gd name="connsiteY3" fmla="*/ 189610 h 189660"/>
              <a:gd name="connsiteX4" fmla="*/ 0 w 8674979"/>
              <a:gd name="connsiteY4" fmla="*/ 444 h 189660"/>
              <a:gd name="connsiteX0" fmla="*/ 0 w 10119577"/>
              <a:gd name="connsiteY0" fmla="*/ 0 h 189216"/>
              <a:gd name="connsiteX1" fmla="*/ 10119577 w 10119577"/>
              <a:gd name="connsiteY1" fmla="*/ 686 h 189216"/>
              <a:gd name="connsiteX2" fmla="*/ 8310720 w 10119577"/>
              <a:gd name="connsiteY2" fmla="*/ 189216 h 189216"/>
              <a:gd name="connsiteX3" fmla="*/ 2938 w 10119577"/>
              <a:gd name="connsiteY3" fmla="*/ 189166 h 189216"/>
              <a:gd name="connsiteX4" fmla="*/ 0 w 10119577"/>
              <a:gd name="connsiteY4" fmla="*/ 0 h 189216"/>
              <a:gd name="connsiteX0" fmla="*/ 0 w 10119577"/>
              <a:gd name="connsiteY0" fmla="*/ 173 h 189389"/>
              <a:gd name="connsiteX1" fmla="*/ 10119577 w 10119577"/>
              <a:gd name="connsiteY1" fmla="*/ 0 h 189389"/>
              <a:gd name="connsiteX2" fmla="*/ 8310720 w 10119577"/>
              <a:gd name="connsiteY2" fmla="*/ 189389 h 189389"/>
              <a:gd name="connsiteX3" fmla="*/ 2938 w 10119577"/>
              <a:gd name="connsiteY3" fmla="*/ 189339 h 189389"/>
              <a:gd name="connsiteX4" fmla="*/ 0 w 10119577"/>
              <a:gd name="connsiteY4" fmla="*/ 173 h 189389"/>
              <a:gd name="connsiteX0" fmla="*/ 10004 w 10129581"/>
              <a:gd name="connsiteY0" fmla="*/ 173 h 189389"/>
              <a:gd name="connsiteX1" fmla="*/ 10129581 w 10129581"/>
              <a:gd name="connsiteY1" fmla="*/ 0 h 189389"/>
              <a:gd name="connsiteX2" fmla="*/ 8320724 w 10129581"/>
              <a:gd name="connsiteY2" fmla="*/ 189389 h 189389"/>
              <a:gd name="connsiteX3" fmla="*/ 57 w 10129581"/>
              <a:gd name="connsiteY3" fmla="*/ 189339 h 189389"/>
              <a:gd name="connsiteX4" fmla="*/ 10004 w 10129581"/>
              <a:gd name="connsiteY4" fmla="*/ 173 h 189389"/>
              <a:gd name="connsiteX0" fmla="*/ 9947 w 10129524"/>
              <a:gd name="connsiteY0" fmla="*/ 173 h 189389"/>
              <a:gd name="connsiteX1" fmla="*/ 10129524 w 10129524"/>
              <a:gd name="connsiteY1" fmla="*/ 0 h 189389"/>
              <a:gd name="connsiteX2" fmla="*/ 8320667 w 10129524"/>
              <a:gd name="connsiteY2" fmla="*/ 189389 h 189389"/>
              <a:gd name="connsiteX3" fmla="*/ 0 w 10129524"/>
              <a:gd name="connsiteY3" fmla="*/ 189339 h 189389"/>
              <a:gd name="connsiteX4" fmla="*/ 9947 w 10129524"/>
              <a:gd name="connsiteY4" fmla="*/ 173 h 189389"/>
              <a:gd name="connsiteX0" fmla="*/ 9947 w 10129524"/>
              <a:gd name="connsiteY0" fmla="*/ 173 h 189389"/>
              <a:gd name="connsiteX1" fmla="*/ 10129524 w 10129524"/>
              <a:gd name="connsiteY1" fmla="*/ 0 h 189389"/>
              <a:gd name="connsiteX2" fmla="*/ 8320667 w 10129524"/>
              <a:gd name="connsiteY2" fmla="*/ 189389 h 189389"/>
              <a:gd name="connsiteX3" fmla="*/ 0 w 10129524"/>
              <a:gd name="connsiteY3" fmla="*/ 189339 h 189389"/>
              <a:gd name="connsiteX4" fmla="*/ 9947 w 10129524"/>
              <a:gd name="connsiteY4" fmla="*/ 173 h 189389"/>
              <a:gd name="connsiteX0" fmla="*/ 0 w 10119577"/>
              <a:gd name="connsiteY0" fmla="*/ 173 h 189389"/>
              <a:gd name="connsiteX1" fmla="*/ 10119577 w 10119577"/>
              <a:gd name="connsiteY1" fmla="*/ 0 h 189389"/>
              <a:gd name="connsiteX2" fmla="*/ 8310720 w 10119577"/>
              <a:gd name="connsiteY2" fmla="*/ 189389 h 189389"/>
              <a:gd name="connsiteX3" fmla="*/ 15823 w 10119577"/>
              <a:gd name="connsiteY3" fmla="*/ 189339 h 189389"/>
              <a:gd name="connsiteX4" fmla="*/ 0 w 10119577"/>
              <a:gd name="connsiteY4" fmla="*/ 173 h 189389"/>
              <a:gd name="connsiteX0" fmla="*/ 0 w 10119577"/>
              <a:gd name="connsiteY0" fmla="*/ 173 h 189389"/>
              <a:gd name="connsiteX1" fmla="*/ 10119577 w 10119577"/>
              <a:gd name="connsiteY1" fmla="*/ 0 h 189389"/>
              <a:gd name="connsiteX2" fmla="*/ 8310720 w 10119577"/>
              <a:gd name="connsiteY2" fmla="*/ 189389 h 189389"/>
              <a:gd name="connsiteX3" fmla="*/ 2938 w 10119577"/>
              <a:gd name="connsiteY3" fmla="*/ 189339 h 189389"/>
              <a:gd name="connsiteX4" fmla="*/ 0 w 10119577"/>
              <a:gd name="connsiteY4" fmla="*/ 173 h 189389"/>
              <a:gd name="connsiteX0" fmla="*/ 0 w 21540281"/>
              <a:gd name="connsiteY0" fmla="*/ 9120 h 189389"/>
              <a:gd name="connsiteX1" fmla="*/ 21540281 w 21540281"/>
              <a:gd name="connsiteY1" fmla="*/ 0 h 189389"/>
              <a:gd name="connsiteX2" fmla="*/ 19731424 w 21540281"/>
              <a:gd name="connsiteY2" fmla="*/ 189389 h 189389"/>
              <a:gd name="connsiteX3" fmla="*/ 11423642 w 21540281"/>
              <a:gd name="connsiteY3" fmla="*/ 189339 h 189389"/>
              <a:gd name="connsiteX4" fmla="*/ 0 w 21540281"/>
              <a:gd name="connsiteY4" fmla="*/ 9120 h 189389"/>
              <a:gd name="connsiteX0" fmla="*/ 0 w 21540281"/>
              <a:gd name="connsiteY0" fmla="*/ 9120 h 192321"/>
              <a:gd name="connsiteX1" fmla="*/ 21540281 w 21540281"/>
              <a:gd name="connsiteY1" fmla="*/ 0 h 192321"/>
              <a:gd name="connsiteX2" fmla="*/ 19731424 w 21540281"/>
              <a:gd name="connsiteY2" fmla="*/ 189389 h 192321"/>
              <a:gd name="connsiteX3" fmla="*/ 2942 w 21540281"/>
              <a:gd name="connsiteY3" fmla="*/ 192321 h 192321"/>
              <a:gd name="connsiteX4" fmla="*/ 0 w 21540281"/>
              <a:gd name="connsiteY4" fmla="*/ 9120 h 192321"/>
              <a:gd name="connsiteX0" fmla="*/ 0 w 21540281"/>
              <a:gd name="connsiteY0" fmla="*/ 6138 h 192321"/>
              <a:gd name="connsiteX1" fmla="*/ 21540281 w 21540281"/>
              <a:gd name="connsiteY1" fmla="*/ 0 h 192321"/>
              <a:gd name="connsiteX2" fmla="*/ 19731424 w 21540281"/>
              <a:gd name="connsiteY2" fmla="*/ 189389 h 192321"/>
              <a:gd name="connsiteX3" fmla="*/ 2942 w 21540281"/>
              <a:gd name="connsiteY3" fmla="*/ 192321 h 192321"/>
              <a:gd name="connsiteX4" fmla="*/ 0 w 21540281"/>
              <a:gd name="connsiteY4" fmla="*/ 6138 h 192321"/>
              <a:gd name="connsiteX0" fmla="*/ 2579162 w 24119443"/>
              <a:gd name="connsiteY0" fmla="*/ 6138 h 192321"/>
              <a:gd name="connsiteX1" fmla="*/ 24119443 w 24119443"/>
              <a:gd name="connsiteY1" fmla="*/ 0 h 192321"/>
              <a:gd name="connsiteX2" fmla="*/ 22310586 w 24119443"/>
              <a:gd name="connsiteY2" fmla="*/ 189389 h 192321"/>
              <a:gd name="connsiteX3" fmla="*/ 2582104 w 24119443"/>
              <a:gd name="connsiteY3" fmla="*/ 192321 h 192321"/>
              <a:gd name="connsiteX4" fmla="*/ 2579162 w 24119443"/>
              <a:gd name="connsiteY4" fmla="*/ 6138 h 192321"/>
              <a:gd name="connsiteX0" fmla="*/ 1459081 w 22999362"/>
              <a:gd name="connsiteY0" fmla="*/ 6138 h 192321"/>
              <a:gd name="connsiteX1" fmla="*/ 22999362 w 22999362"/>
              <a:gd name="connsiteY1" fmla="*/ 0 h 192321"/>
              <a:gd name="connsiteX2" fmla="*/ 21190505 w 22999362"/>
              <a:gd name="connsiteY2" fmla="*/ 189389 h 192321"/>
              <a:gd name="connsiteX3" fmla="*/ 1462023 w 22999362"/>
              <a:gd name="connsiteY3" fmla="*/ 192321 h 192321"/>
              <a:gd name="connsiteX4" fmla="*/ 1459081 w 22999362"/>
              <a:gd name="connsiteY4" fmla="*/ 6138 h 192321"/>
              <a:gd name="connsiteX0" fmla="*/ 2579108 w 24119389"/>
              <a:gd name="connsiteY0" fmla="*/ 6138 h 192321"/>
              <a:gd name="connsiteX1" fmla="*/ 24119389 w 24119389"/>
              <a:gd name="connsiteY1" fmla="*/ 0 h 192321"/>
              <a:gd name="connsiteX2" fmla="*/ 22310532 w 24119389"/>
              <a:gd name="connsiteY2" fmla="*/ 189389 h 192321"/>
              <a:gd name="connsiteX3" fmla="*/ 2582050 w 24119389"/>
              <a:gd name="connsiteY3" fmla="*/ 192321 h 192321"/>
              <a:gd name="connsiteX4" fmla="*/ 2579108 w 24119389"/>
              <a:gd name="connsiteY4" fmla="*/ 6138 h 192321"/>
              <a:gd name="connsiteX0" fmla="*/ 1594923 w 23135204"/>
              <a:gd name="connsiteY0" fmla="*/ 6138 h 192321"/>
              <a:gd name="connsiteX1" fmla="*/ 23135204 w 23135204"/>
              <a:gd name="connsiteY1" fmla="*/ 0 h 192321"/>
              <a:gd name="connsiteX2" fmla="*/ 21326347 w 23135204"/>
              <a:gd name="connsiteY2" fmla="*/ 189389 h 192321"/>
              <a:gd name="connsiteX3" fmla="*/ 1597865 w 23135204"/>
              <a:gd name="connsiteY3" fmla="*/ 192321 h 192321"/>
              <a:gd name="connsiteX4" fmla="*/ 1594923 w 23135204"/>
              <a:gd name="connsiteY4" fmla="*/ 6138 h 192321"/>
              <a:gd name="connsiteX0" fmla="*/ 1 w 21540282"/>
              <a:gd name="connsiteY0" fmla="*/ 6138 h 192321"/>
              <a:gd name="connsiteX1" fmla="*/ 21540282 w 21540282"/>
              <a:gd name="connsiteY1" fmla="*/ 0 h 192321"/>
              <a:gd name="connsiteX2" fmla="*/ 19731425 w 21540282"/>
              <a:gd name="connsiteY2" fmla="*/ 189389 h 192321"/>
              <a:gd name="connsiteX3" fmla="*/ 2943 w 21540282"/>
              <a:gd name="connsiteY3" fmla="*/ 192321 h 192321"/>
              <a:gd name="connsiteX4" fmla="*/ 1 w 21540282"/>
              <a:gd name="connsiteY4" fmla="*/ 6138 h 192321"/>
              <a:gd name="connsiteX0" fmla="*/ 0 w 21540282"/>
              <a:gd name="connsiteY0" fmla="*/ 3156 h 192321"/>
              <a:gd name="connsiteX1" fmla="*/ 21540282 w 21540282"/>
              <a:gd name="connsiteY1" fmla="*/ 0 h 192321"/>
              <a:gd name="connsiteX2" fmla="*/ 19731425 w 21540282"/>
              <a:gd name="connsiteY2" fmla="*/ 189389 h 192321"/>
              <a:gd name="connsiteX3" fmla="*/ 2943 w 21540282"/>
              <a:gd name="connsiteY3" fmla="*/ 192321 h 192321"/>
              <a:gd name="connsiteX4" fmla="*/ 0 w 21540282"/>
              <a:gd name="connsiteY4" fmla="*/ 3156 h 192321"/>
              <a:gd name="connsiteX0" fmla="*/ 0 w 21540282"/>
              <a:gd name="connsiteY0" fmla="*/ 347 h 192321"/>
              <a:gd name="connsiteX1" fmla="*/ 21540282 w 21540282"/>
              <a:gd name="connsiteY1" fmla="*/ 0 h 192321"/>
              <a:gd name="connsiteX2" fmla="*/ 19731425 w 21540282"/>
              <a:gd name="connsiteY2" fmla="*/ 189389 h 192321"/>
              <a:gd name="connsiteX3" fmla="*/ 2943 w 21540282"/>
              <a:gd name="connsiteY3" fmla="*/ 192321 h 192321"/>
              <a:gd name="connsiteX4" fmla="*/ 0 w 21540282"/>
              <a:gd name="connsiteY4" fmla="*/ 347 h 192321"/>
              <a:gd name="connsiteX0" fmla="*/ 0 w 21540282"/>
              <a:gd name="connsiteY0" fmla="*/ 347 h 192321"/>
              <a:gd name="connsiteX1" fmla="*/ 21540282 w 21540282"/>
              <a:gd name="connsiteY1" fmla="*/ 0 h 192321"/>
              <a:gd name="connsiteX2" fmla="*/ 19731425 w 21540282"/>
              <a:gd name="connsiteY2" fmla="*/ 189389 h 192321"/>
              <a:gd name="connsiteX3" fmla="*/ 2942 w 21540282"/>
              <a:gd name="connsiteY3" fmla="*/ 192321 h 192321"/>
              <a:gd name="connsiteX4" fmla="*/ 0 w 21540282"/>
              <a:gd name="connsiteY4" fmla="*/ 347 h 192321"/>
              <a:gd name="connsiteX0" fmla="*/ 0 w 21540282"/>
              <a:gd name="connsiteY0" fmla="*/ 347 h 189512"/>
              <a:gd name="connsiteX1" fmla="*/ 21540282 w 21540282"/>
              <a:gd name="connsiteY1" fmla="*/ 0 h 189512"/>
              <a:gd name="connsiteX2" fmla="*/ 19731425 w 21540282"/>
              <a:gd name="connsiteY2" fmla="*/ 189389 h 189512"/>
              <a:gd name="connsiteX3" fmla="*/ 2942 w 21540282"/>
              <a:gd name="connsiteY3" fmla="*/ 189512 h 189512"/>
              <a:gd name="connsiteX4" fmla="*/ 0 w 21540282"/>
              <a:gd name="connsiteY4" fmla="*/ 347 h 189512"/>
              <a:gd name="connsiteX0" fmla="*/ 0 w 20903501"/>
              <a:gd name="connsiteY0" fmla="*/ 347 h 189512"/>
              <a:gd name="connsiteX1" fmla="*/ 20903501 w 20903501"/>
              <a:gd name="connsiteY1" fmla="*/ 0 h 189512"/>
              <a:gd name="connsiteX2" fmla="*/ 19731425 w 20903501"/>
              <a:gd name="connsiteY2" fmla="*/ 189389 h 189512"/>
              <a:gd name="connsiteX3" fmla="*/ 2942 w 20903501"/>
              <a:gd name="connsiteY3" fmla="*/ 189512 h 189512"/>
              <a:gd name="connsiteX4" fmla="*/ 0 w 20903501"/>
              <a:gd name="connsiteY4" fmla="*/ 347 h 18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3501" h="189512">
                <a:moveTo>
                  <a:pt x="0" y="347"/>
                </a:moveTo>
                <a:lnTo>
                  <a:pt x="20903501" y="0"/>
                </a:lnTo>
                <a:lnTo>
                  <a:pt x="19731425" y="189389"/>
                </a:lnTo>
                <a:lnTo>
                  <a:pt x="2942" y="189512"/>
                </a:lnTo>
                <a:cubicBezTo>
                  <a:pt x="1961" y="125521"/>
                  <a:pt x="981" y="64338"/>
                  <a:pt x="0" y="347"/>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92510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D9C4343-C115-504A-8D4F-0B17318D4A48}" type="slidenum">
              <a:rPr lang="en-US" smtClean="0"/>
              <a:t>‹#›</a:t>
            </a:fld>
            <a:endParaRPr lang="en-US"/>
          </a:p>
        </p:txBody>
      </p:sp>
      <p:sp>
        <p:nvSpPr>
          <p:cNvPr id="3" name="Title 2"/>
          <p:cNvSpPr>
            <a:spLocks noGrp="1"/>
          </p:cNvSpPr>
          <p:nvPr>
            <p:ph type="title"/>
          </p:nvPr>
        </p:nvSpPr>
        <p:spPr>
          <a:xfrm>
            <a:off x="312801" y="323849"/>
            <a:ext cx="11667744" cy="859536"/>
          </a:xfrm>
        </p:spPr>
        <p:txBody>
          <a:bodyPr/>
          <a:lstStyle/>
          <a:p>
            <a:r>
              <a:rPr lang="en-US"/>
              <a:t>Click to edit Master title style</a:t>
            </a:r>
          </a:p>
        </p:txBody>
      </p:sp>
    </p:spTree>
    <p:extLst>
      <p:ext uri="{BB962C8B-B14F-4D97-AF65-F5344CB8AC3E}">
        <p14:creationId xmlns:p14="http://schemas.microsoft.com/office/powerpoint/2010/main" val="13466848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D9C4343-C115-504A-8D4F-0B17318D4A48}" type="slidenum">
              <a:rPr lang="en-US" smtClean="0"/>
              <a:t>‹#›</a:t>
            </a:fld>
            <a:endParaRPr lang="en-US"/>
          </a:p>
        </p:txBody>
      </p:sp>
    </p:spTree>
    <p:extLst>
      <p:ext uri="{BB962C8B-B14F-4D97-AF65-F5344CB8AC3E}">
        <p14:creationId xmlns:p14="http://schemas.microsoft.com/office/powerpoint/2010/main" val="3559963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12801" y="323850"/>
            <a:ext cx="4010039" cy="1162050"/>
          </a:xfrm>
        </p:spPr>
        <p:txBody>
          <a:bodyPr anchor="t" anchorCtr="0">
            <a:normAutofit/>
          </a:bodyPr>
          <a:lstStyle>
            <a:lvl1pPr algn="l">
              <a:defRPr sz="2000" b="1"/>
            </a:lvl1pPr>
          </a:lstStyle>
          <a:p>
            <a:r>
              <a:rPr lang="en-US"/>
              <a:t>Click to edit Master title style</a:t>
            </a:r>
          </a:p>
        </p:txBody>
      </p:sp>
      <p:sp>
        <p:nvSpPr>
          <p:cNvPr id="4" name="Text Placeholder 3"/>
          <p:cNvSpPr>
            <a:spLocks noGrp="1"/>
          </p:cNvSpPr>
          <p:nvPr>
            <p:ph type="body" sz="half" idx="2"/>
          </p:nvPr>
        </p:nvSpPr>
        <p:spPr>
          <a:xfrm>
            <a:off x="312801" y="1530351"/>
            <a:ext cx="4010039" cy="4467226"/>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Footer Placeholder 5"/>
          <p:cNvSpPr>
            <a:spLocks noGrp="1"/>
          </p:cNvSpPr>
          <p:nvPr>
            <p:ph type="ftr" sz="quarter" idx="11"/>
          </p:nvPr>
        </p:nvSpPr>
        <p:spPr/>
        <p:txBody>
          <a:bodyPr>
            <a:normAutofit/>
          </a:bodyPr>
          <a:lstStyle/>
          <a:p>
            <a:endParaRPr lang="en-US"/>
          </a:p>
        </p:txBody>
      </p:sp>
      <p:sp>
        <p:nvSpPr>
          <p:cNvPr id="7" name="Slide Number Placeholder 6"/>
          <p:cNvSpPr>
            <a:spLocks noGrp="1"/>
          </p:cNvSpPr>
          <p:nvPr>
            <p:ph type="sldNum" sz="quarter" idx="12"/>
          </p:nvPr>
        </p:nvSpPr>
        <p:spPr/>
        <p:txBody>
          <a:bodyPr>
            <a:normAutofit/>
          </a:bodyPr>
          <a:lstStyle/>
          <a:p>
            <a:fld id="{FD9C4343-C115-504A-8D4F-0B17318D4A48}" type="slidenum">
              <a:rPr lang="en-US" smtClean="0"/>
              <a:t>‹#›</a:t>
            </a:fld>
            <a:endParaRPr lang="en-US"/>
          </a:p>
        </p:txBody>
      </p:sp>
      <p:sp>
        <p:nvSpPr>
          <p:cNvPr id="8" name="Content Placeholder 2"/>
          <p:cNvSpPr>
            <a:spLocks noGrp="1"/>
          </p:cNvSpPr>
          <p:nvPr>
            <p:ph idx="14"/>
          </p:nvPr>
        </p:nvSpPr>
        <p:spPr>
          <a:xfrm>
            <a:off x="4496545" y="323850"/>
            <a:ext cx="7482730" cy="5673726"/>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03308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312801" y="5274397"/>
            <a:ext cx="11667744" cy="72318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9C4343-C115-504A-8D4F-0B17318D4A48}" type="slidenum">
              <a:rPr lang="en-US" smtClean="0"/>
              <a:t>‹#›</a:t>
            </a:fld>
            <a:endParaRPr lang="en-US"/>
          </a:p>
        </p:txBody>
      </p:sp>
      <p:sp>
        <p:nvSpPr>
          <p:cNvPr id="9" name="Content Placeholder 2"/>
          <p:cNvSpPr>
            <a:spLocks noGrp="1"/>
          </p:cNvSpPr>
          <p:nvPr>
            <p:ph idx="1"/>
          </p:nvPr>
        </p:nvSpPr>
        <p:spPr>
          <a:xfrm>
            <a:off x="312800" y="1274831"/>
            <a:ext cx="11667744" cy="39002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3"/>
          <p:cNvSpPr>
            <a:spLocks noGrp="1"/>
          </p:cNvSpPr>
          <p:nvPr>
            <p:ph type="title"/>
          </p:nvPr>
        </p:nvSpPr>
        <p:spPr>
          <a:xfrm>
            <a:off x="312800" y="323848"/>
            <a:ext cx="11667744" cy="859536"/>
          </a:xfrm>
        </p:spPr>
        <p:txBody>
          <a:bodyPr/>
          <a:lstStyle/>
          <a:p>
            <a:r>
              <a:rPr lang="en-US"/>
              <a:t>Click to edit Master title style</a:t>
            </a:r>
          </a:p>
        </p:txBody>
      </p:sp>
    </p:spTree>
    <p:extLst>
      <p:ext uri="{BB962C8B-B14F-4D97-AF65-F5344CB8AC3E}">
        <p14:creationId xmlns:p14="http://schemas.microsoft.com/office/powerpoint/2010/main" val="30104056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B4B4D2-7974-42CF-895B-E7C95ABDC135}"/>
              </a:ext>
            </a:extLst>
          </p:cNvPr>
          <p:cNvGraphicFramePr>
            <a:graphicFrameLocks noChangeAspect="1"/>
          </p:cNvGraphicFramePr>
          <p:nvPr userDrawn="1">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a:extLst>
                          <a:ext uri="{FF2B5EF4-FFF2-40B4-BE49-F238E27FC236}">
                            <a16:creationId xmlns:a16="http://schemas.microsoft.com/office/drawing/2014/main" id="{69B4B4D2-7974-42CF-895B-E7C95ABDC135}"/>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291B11-C163-4CA2-8CD2-CE4591217E44}"/>
              </a:ext>
            </a:extLst>
          </p:cNvPr>
          <p:cNvSpPr/>
          <p:nvPr userDrawn="1">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599" b="0" i="0" baseline="0">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850245A9-1299-49B4-9661-97DC6C0833A9}"/>
              </a:ext>
            </a:extLst>
          </p:cNvPr>
          <p:cNvSpPr>
            <a:spLocks noGrp="1"/>
          </p:cNvSpPr>
          <p:nvPr>
            <p:ph type="title" hasCustomPrompt="1"/>
          </p:nvPr>
        </p:nvSpPr>
        <p:spPr>
          <a:xfrm>
            <a:off x="335579" y="122164"/>
            <a:ext cx="9382907" cy="468000"/>
          </a:xfrm>
        </p:spPr>
        <p:txBody>
          <a:bodyPr anchor="b">
            <a:noAutofit/>
          </a:bodyPr>
          <a:lstStyle>
            <a:lvl1pPr>
              <a:defRPr sz="2599">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US"/>
              <a:t>Title / Segoe UI / 26pt</a:t>
            </a:r>
            <a:endParaRPr lang="es-MX"/>
          </a:p>
        </p:txBody>
      </p:sp>
      <p:sp>
        <p:nvSpPr>
          <p:cNvPr id="3" name="Text Placeholder 2">
            <a:extLst>
              <a:ext uri="{FF2B5EF4-FFF2-40B4-BE49-F238E27FC236}">
                <a16:creationId xmlns:a16="http://schemas.microsoft.com/office/drawing/2014/main" id="{5D2557D7-49E0-456D-85FF-B1EDA2E18704}"/>
              </a:ext>
            </a:extLst>
          </p:cNvPr>
          <p:cNvSpPr>
            <a:spLocks noGrp="1"/>
          </p:cNvSpPr>
          <p:nvPr>
            <p:ph type="body" idx="1" hasCustomPrompt="1"/>
          </p:nvPr>
        </p:nvSpPr>
        <p:spPr>
          <a:xfrm>
            <a:off x="364304" y="717626"/>
            <a:ext cx="11513811" cy="703023"/>
          </a:xfrm>
        </p:spPr>
        <p:txBody>
          <a:bodyPr>
            <a:noAutofit/>
          </a:bodyPr>
          <a:lstStyle>
            <a:lvl1pPr marL="0" indent="0" algn="l">
              <a:spcBef>
                <a:spcPts val="0"/>
              </a:spcBef>
              <a:buNone/>
              <a:defRPr sz="1999" b="1">
                <a:solidFill>
                  <a:srgbClr val="2C6EFF"/>
                </a:solidFill>
                <a:latin typeface="Segoe UI" panose="020B0502040204020203" pitchFamily="34" charset="0"/>
                <a:ea typeface="Segoe UI" panose="020B0502040204020203" pitchFamily="34" charset="0"/>
                <a:cs typeface="Segoe UI" panose="020B0502040204020203" pitchFamily="34" charset="0"/>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Subtitle / Segoe UI / 20pt / Max 2 lines </a:t>
            </a:r>
          </a:p>
        </p:txBody>
      </p:sp>
      <p:pic>
        <p:nvPicPr>
          <p:cNvPr id="7" name="Picture 6">
            <a:extLst>
              <a:ext uri="{FF2B5EF4-FFF2-40B4-BE49-F238E27FC236}">
                <a16:creationId xmlns:a16="http://schemas.microsoft.com/office/drawing/2014/main" id="{08B808D6-DC4A-432D-AF64-9E614DE23B1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133604" y="191502"/>
            <a:ext cx="1687151" cy="393542"/>
          </a:xfrm>
          <a:prstGeom prst="rect">
            <a:avLst/>
          </a:prstGeom>
        </p:spPr>
      </p:pic>
      <p:cxnSp>
        <p:nvCxnSpPr>
          <p:cNvPr id="10" name="Straight Connector 9">
            <a:extLst>
              <a:ext uri="{FF2B5EF4-FFF2-40B4-BE49-F238E27FC236}">
                <a16:creationId xmlns:a16="http://schemas.microsoft.com/office/drawing/2014/main" id="{3B297023-DCC5-4D96-A209-5E27292A3E07}"/>
              </a:ext>
            </a:extLst>
          </p:cNvPr>
          <p:cNvCxnSpPr>
            <a:cxnSpLocks/>
          </p:cNvCxnSpPr>
          <p:nvPr userDrawn="1"/>
        </p:nvCxnSpPr>
        <p:spPr>
          <a:xfrm>
            <a:off x="364304" y="602621"/>
            <a:ext cx="3917214" cy="0"/>
          </a:xfrm>
          <a:prstGeom prst="line">
            <a:avLst/>
          </a:prstGeom>
          <a:ln w="12700">
            <a:solidFill>
              <a:srgbClr val="2C6EFF"/>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A91003BE-B0D6-4A3B-94DB-5912534CB5DE}"/>
              </a:ext>
            </a:extLst>
          </p:cNvPr>
          <p:cNvSpPr/>
          <p:nvPr userDrawn="1"/>
        </p:nvSpPr>
        <p:spPr>
          <a:xfrm>
            <a:off x="9643062" y="6485126"/>
            <a:ext cx="2285608" cy="246221"/>
          </a:xfrm>
          <a:prstGeom prst="rect">
            <a:avLst/>
          </a:prstGeom>
        </p:spPr>
        <p:txBody>
          <a:bodyPr wrap="none">
            <a:spAutoFit/>
          </a:bodyPr>
          <a:lstStyle/>
          <a:p>
            <a:pPr algn="r"/>
            <a:r>
              <a:rPr lang="en-US" sz="1000" b="0" i="0">
                <a:solidFill>
                  <a:schemeClr val="bg1">
                    <a:lumMod val="50000"/>
                  </a:schemeClr>
                </a:solidFill>
                <a:effectLst/>
                <a:latin typeface="Segoe UI" panose="020B0502040204020203" pitchFamily="34" charset="0"/>
                <a:ea typeface="Segoe UI" panose="020B0502040204020203" pitchFamily="34" charset="0"/>
                <a:cs typeface="Segoe UI" panose="020B0502040204020203" pitchFamily="34" charset="0"/>
              </a:rPr>
              <a:t>© 2019. Metalsa. All Rights Reserved.</a:t>
            </a:r>
            <a:endParaRPr lang="es-MX" sz="10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Slide Number Placeholder 5">
            <a:extLst>
              <a:ext uri="{FF2B5EF4-FFF2-40B4-BE49-F238E27FC236}">
                <a16:creationId xmlns:a16="http://schemas.microsoft.com/office/drawing/2014/main" id="{CA3EE090-A529-45FE-9134-FD6054317C19}"/>
              </a:ext>
            </a:extLst>
          </p:cNvPr>
          <p:cNvSpPr>
            <a:spLocks noGrp="1"/>
          </p:cNvSpPr>
          <p:nvPr>
            <p:ph type="sldNum" sz="quarter" idx="4"/>
          </p:nvPr>
        </p:nvSpPr>
        <p:spPr>
          <a:xfrm>
            <a:off x="11348534" y="6120001"/>
            <a:ext cx="47222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9069A6-7598-4ADD-AE3D-A8CDEF4AFD51}" type="slidenum">
              <a:rPr lang="es-MX" smtClean="0"/>
              <a:t>‹#›</a:t>
            </a:fld>
            <a:endParaRPr lang="es-MX"/>
          </a:p>
        </p:txBody>
      </p:sp>
      <p:sp>
        <p:nvSpPr>
          <p:cNvPr id="17" name="Text Placeholder 2">
            <a:extLst>
              <a:ext uri="{FF2B5EF4-FFF2-40B4-BE49-F238E27FC236}">
                <a16:creationId xmlns:a16="http://schemas.microsoft.com/office/drawing/2014/main" id="{98C94A0A-21E0-4FF4-A509-C4DEB72C7C42}"/>
              </a:ext>
            </a:extLst>
          </p:cNvPr>
          <p:cNvSpPr>
            <a:spLocks noGrp="1"/>
          </p:cNvSpPr>
          <p:nvPr>
            <p:ph type="body" idx="10" hasCustomPrompt="1"/>
          </p:nvPr>
        </p:nvSpPr>
        <p:spPr>
          <a:xfrm>
            <a:off x="8859546" y="6120001"/>
            <a:ext cx="2488989" cy="365125"/>
          </a:xfrm>
        </p:spPr>
        <p:txBody>
          <a:bodyPr anchor="ctr">
            <a:noAutofit/>
          </a:bodyPr>
          <a:lstStyle>
            <a:lvl1pPr marL="0" indent="0" algn="r">
              <a:spcBef>
                <a:spcPts val="0"/>
              </a:spcBef>
              <a:buNone/>
              <a:defRPr sz="1000" b="0">
                <a:solidFill>
                  <a:schemeClr val="bg1">
                    <a:lumMod val="75000"/>
                  </a:schemeClr>
                </a:solidFill>
                <a:latin typeface="Segoe UI" panose="020B0502040204020203" pitchFamily="34" charset="0"/>
                <a:ea typeface="Segoe UI" panose="020B0502040204020203" pitchFamily="34" charset="0"/>
                <a:cs typeface="Segoe UI" panose="020B0502040204020203" pitchFamily="34" charset="0"/>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err="1"/>
              <a:t>departament</a:t>
            </a:r>
            <a:r>
              <a:rPr lang="en-US"/>
              <a:t> </a:t>
            </a:r>
          </a:p>
        </p:txBody>
      </p:sp>
    </p:spTree>
    <p:extLst>
      <p:ext uri="{BB962C8B-B14F-4D97-AF65-F5344CB8AC3E}">
        <p14:creationId xmlns:p14="http://schemas.microsoft.com/office/powerpoint/2010/main" val="19935902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4462" y="500024"/>
            <a:ext cx="4821756" cy="1325563"/>
          </a:xfrm>
        </p:spPr>
        <p:txBody>
          <a:bodyPr>
            <a:normAutofit/>
          </a:bodyPr>
          <a:lstStyle>
            <a:lvl1pPr>
              <a:defRPr sz="3999">
                <a:latin typeface="Gotham Light" pitchFamily="50" charset="0"/>
              </a:defRPr>
            </a:lvl1pPr>
          </a:lstStyle>
          <a:p>
            <a:r>
              <a:rPr lang="en-US"/>
              <a:t>Click to edit Master title style</a:t>
            </a:r>
          </a:p>
        </p:txBody>
      </p:sp>
      <p:sp>
        <p:nvSpPr>
          <p:cNvPr id="3" name="Content Placeholder 2"/>
          <p:cNvSpPr>
            <a:spLocks noGrp="1"/>
          </p:cNvSpPr>
          <p:nvPr>
            <p:ph idx="1"/>
          </p:nvPr>
        </p:nvSpPr>
        <p:spPr>
          <a:xfrm>
            <a:off x="534461" y="2220687"/>
            <a:ext cx="11125904" cy="4080665"/>
          </a:xfrm>
        </p:spPr>
        <p:txBody>
          <a:bodyPr>
            <a:normAutofit/>
          </a:bodyPr>
          <a:lstStyle>
            <a:lvl1pPr>
              <a:defRPr sz="1400">
                <a:latin typeface="Segoe UI Semilight" panose="020B0402040204020203" pitchFamily="34" charset="0"/>
                <a:cs typeface="Segoe UI Semilight" panose="020B0402040204020203" pitchFamily="34" charset="0"/>
              </a:defRPr>
            </a:lvl1pPr>
            <a:lvl2pPr>
              <a:defRPr sz="1400">
                <a:latin typeface="Segoe UI Semilight" panose="020B0402040204020203" pitchFamily="34" charset="0"/>
                <a:cs typeface="Segoe UI Semilight" panose="020B0402040204020203" pitchFamily="34" charset="0"/>
              </a:defRPr>
            </a:lvl2pPr>
            <a:lvl3pPr>
              <a:defRPr sz="1400">
                <a:latin typeface="Segoe UI Semilight" panose="020B0402040204020203" pitchFamily="34" charset="0"/>
                <a:cs typeface="Segoe UI Semilight" panose="020B0402040204020203" pitchFamily="34" charset="0"/>
              </a:defRPr>
            </a:lvl3pPr>
            <a:lvl4pPr>
              <a:defRPr sz="1400">
                <a:latin typeface="Segoe UI Semilight" panose="020B0402040204020203" pitchFamily="34" charset="0"/>
                <a:cs typeface="Segoe UI Semilight" panose="020B0402040204020203" pitchFamily="34" charset="0"/>
              </a:defRPr>
            </a:lvl4pPr>
            <a:lvl5pPr>
              <a:defRPr sz="1400">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406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Ending Slide">
    <p:spTree>
      <p:nvGrpSpPr>
        <p:cNvPr id="1" name=""/>
        <p:cNvGrpSpPr/>
        <p:nvPr/>
      </p:nvGrpSpPr>
      <p:grpSpPr>
        <a:xfrm>
          <a:off x="0" y="0"/>
          <a:ext cx="0" cy="0"/>
          <a:chOff x="0" y="0"/>
          <a:chExt cx="0" cy="0"/>
        </a:xfrm>
      </p:grpSpPr>
      <p:sp>
        <p:nvSpPr>
          <p:cNvPr id="2" name="Rectangle 1"/>
          <p:cNvSpPr/>
          <p:nvPr userDrawn="1"/>
        </p:nvSpPr>
        <p:spPr>
          <a:xfrm>
            <a:off x="10837162" y="6073142"/>
            <a:ext cx="1096830" cy="71554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74398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2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C602143-C257-4223-9762-B5D01CB7EE1C}" type="slidenum">
              <a:rPr lang="en-US" altLang="en-US"/>
              <a:pPr>
                <a:defRPr/>
              </a:pPr>
              <a:t>‹#›</a:t>
            </a:fld>
            <a:endParaRPr lang="en-US" altLang="en-US"/>
          </a:p>
        </p:txBody>
      </p:sp>
    </p:spTree>
    <p:extLst>
      <p:ext uri="{BB962C8B-B14F-4D97-AF65-F5344CB8AC3E}">
        <p14:creationId xmlns:p14="http://schemas.microsoft.com/office/powerpoint/2010/main" val="35921503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B4B4D2-7974-42CF-895B-E7C95ABDC135}"/>
              </a:ext>
            </a:extLst>
          </p:cNvPr>
          <p:cNvGraphicFramePr>
            <a:graphicFrameLocks noChangeAspect="1"/>
          </p:cNvGraphicFramePr>
          <p:nvPr userDrawn="1">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a:extLst>
                          <a:ext uri="{FF2B5EF4-FFF2-40B4-BE49-F238E27FC236}">
                            <a16:creationId xmlns:a16="http://schemas.microsoft.com/office/drawing/2014/main" id="{69B4B4D2-7974-42CF-895B-E7C95ABDC135}"/>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291B11-C163-4CA2-8CD2-CE4591217E44}"/>
              </a:ext>
            </a:extLst>
          </p:cNvPr>
          <p:cNvSpPr/>
          <p:nvPr userDrawn="1">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599" b="0" i="0" baseline="0">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850245A9-1299-49B4-9661-97DC6C0833A9}"/>
              </a:ext>
            </a:extLst>
          </p:cNvPr>
          <p:cNvSpPr>
            <a:spLocks noGrp="1"/>
          </p:cNvSpPr>
          <p:nvPr>
            <p:ph type="title" hasCustomPrompt="1"/>
          </p:nvPr>
        </p:nvSpPr>
        <p:spPr>
          <a:xfrm>
            <a:off x="335579" y="122164"/>
            <a:ext cx="9382907" cy="468000"/>
          </a:xfrm>
        </p:spPr>
        <p:txBody>
          <a:bodyPr anchor="b">
            <a:noAutofit/>
          </a:bodyPr>
          <a:lstStyle>
            <a:lvl1pPr>
              <a:defRPr sz="2599">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US"/>
              <a:t>Title / Segoe UI / 26pt</a:t>
            </a:r>
            <a:endParaRPr lang="es-MX"/>
          </a:p>
        </p:txBody>
      </p:sp>
      <p:sp>
        <p:nvSpPr>
          <p:cNvPr id="3" name="Text Placeholder 2">
            <a:extLst>
              <a:ext uri="{FF2B5EF4-FFF2-40B4-BE49-F238E27FC236}">
                <a16:creationId xmlns:a16="http://schemas.microsoft.com/office/drawing/2014/main" id="{5D2557D7-49E0-456D-85FF-B1EDA2E18704}"/>
              </a:ext>
            </a:extLst>
          </p:cNvPr>
          <p:cNvSpPr>
            <a:spLocks noGrp="1"/>
          </p:cNvSpPr>
          <p:nvPr>
            <p:ph type="body" idx="1" hasCustomPrompt="1"/>
          </p:nvPr>
        </p:nvSpPr>
        <p:spPr>
          <a:xfrm>
            <a:off x="364304" y="717626"/>
            <a:ext cx="11513811" cy="703023"/>
          </a:xfrm>
        </p:spPr>
        <p:txBody>
          <a:bodyPr>
            <a:noAutofit/>
          </a:bodyPr>
          <a:lstStyle>
            <a:lvl1pPr marL="0" indent="0" algn="l">
              <a:spcBef>
                <a:spcPts val="0"/>
              </a:spcBef>
              <a:buNone/>
              <a:defRPr sz="1999" b="1">
                <a:solidFill>
                  <a:srgbClr val="2C6EFF"/>
                </a:solidFill>
                <a:latin typeface="Segoe UI" panose="020B0502040204020203" pitchFamily="34" charset="0"/>
                <a:ea typeface="Segoe UI" panose="020B0502040204020203" pitchFamily="34" charset="0"/>
                <a:cs typeface="Segoe UI" panose="020B0502040204020203" pitchFamily="34" charset="0"/>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Subtitle / Segoe UI / 20pt / Max 2 lines </a:t>
            </a:r>
          </a:p>
        </p:txBody>
      </p:sp>
      <p:pic>
        <p:nvPicPr>
          <p:cNvPr id="7" name="Picture 6">
            <a:extLst>
              <a:ext uri="{FF2B5EF4-FFF2-40B4-BE49-F238E27FC236}">
                <a16:creationId xmlns:a16="http://schemas.microsoft.com/office/drawing/2014/main" id="{08B808D6-DC4A-432D-AF64-9E614DE23B1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133604" y="191502"/>
            <a:ext cx="1687151" cy="393542"/>
          </a:xfrm>
          <a:prstGeom prst="rect">
            <a:avLst/>
          </a:prstGeom>
        </p:spPr>
      </p:pic>
      <p:cxnSp>
        <p:nvCxnSpPr>
          <p:cNvPr id="10" name="Straight Connector 9">
            <a:extLst>
              <a:ext uri="{FF2B5EF4-FFF2-40B4-BE49-F238E27FC236}">
                <a16:creationId xmlns:a16="http://schemas.microsoft.com/office/drawing/2014/main" id="{3B297023-DCC5-4D96-A209-5E27292A3E07}"/>
              </a:ext>
            </a:extLst>
          </p:cNvPr>
          <p:cNvCxnSpPr>
            <a:cxnSpLocks/>
          </p:cNvCxnSpPr>
          <p:nvPr userDrawn="1"/>
        </p:nvCxnSpPr>
        <p:spPr>
          <a:xfrm>
            <a:off x="364304" y="602621"/>
            <a:ext cx="3917214" cy="0"/>
          </a:xfrm>
          <a:prstGeom prst="line">
            <a:avLst/>
          </a:prstGeom>
          <a:ln w="12700">
            <a:solidFill>
              <a:srgbClr val="2C6EFF"/>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A91003BE-B0D6-4A3B-94DB-5912534CB5DE}"/>
              </a:ext>
            </a:extLst>
          </p:cNvPr>
          <p:cNvSpPr/>
          <p:nvPr userDrawn="1"/>
        </p:nvSpPr>
        <p:spPr>
          <a:xfrm>
            <a:off x="9643062" y="6485126"/>
            <a:ext cx="2285608" cy="246221"/>
          </a:xfrm>
          <a:prstGeom prst="rect">
            <a:avLst/>
          </a:prstGeom>
        </p:spPr>
        <p:txBody>
          <a:bodyPr wrap="none">
            <a:spAutoFit/>
          </a:bodyPr>
          <a:lstStyle/>
          <a:p>
            <a:pPr algn="r"/>
            <a:r>
              <a:rPr lang="en-US" sz="1000" b="0" i="0">
                <a:solidFill>
                  <a:schemeClr val="bg1">
                    <a:lumMod val="50000"/>
                  </a:schemeClr>
                </a:solidFill>
                <a:effectLst/>
                <a:latin typeface="Segoe UI" panose="020B0502040204020203" pitchFamily="34" charset="0"/>
                <a:ea typeface="Segoe UI" panose="020B0502040204020203" pitchFamily="34" charset="0"/>
                <a:cs typeface="Segoe UI" panose="020B0502040204020203" pitchFamily="34" charset="0"/>
              </a:rPr>
              <a:t>© 2019. Metalsa. All Rights Reserved.</a:t>
            </a:r>
            <a:endParaRPr lang="es-MX" sz="10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Slide Number Placeholder 5">
            <a:extLst>
              <a:ext uri="{FF2B5EF4-FFF2-40B4-BE49-F238E27FC236}">
                <a16:creationId xmlns:a16="http://schemas.microsoft.com/office/drawing/2014/main" id="{CA3EE090-A529-45FE-9134-FD6054317C19}"/>
              </a:ext>
            </a:extLst>
          </p:cNvPr>
          <p:cNvSpPr>
            <a:spLocks noGrp="1"/>
          </p:cNvSpPr>
          <p:nvPr>
            <p:ph type="sldNum" sz="quarter" idx="4"/>
          </p:nvPr>
        </p:nvSpPr>
        <p:spPr>
          <a:xfrm>
            <a:off x="11348534" y="6120001"/>
            <a:ext cx="47222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9069A6-7598-4ADD-AE3D-A8CDEF4AFD51}" type="slidenum">
              <a:rPr lang="es-MX" smtClean="0"/>
              <a:t>‹#›</a:t>
            </a:fld>
            <a:endParaRPr lang="es-MX"/>
          </a:p>
        </p:txBody>
      </p:sp>
      <p:sp>
        <p:nvSpPr>
          <p:cNvPr id="17" name="Text Placeholder 2">
            <a:extLst>
              <a:ext uri="{FF2B5EF4-FFF2-40B4-BE49-F238E27FC236}">
                <a16:creationId xmlns:a16="http://schemas.microsoft.com/office/drawing/2014/main" id="{98C94A0A-21E0-4FF4-A509-C4DEB72C7C42}"/>
              </a:ext>
            </a:extLst>
          </p:cNvPr>
          <p:cNvSpPr>
            <a:spLocks noGrp="1"/>
          </p:cNvSpPr>
          <p:nvPr>
            <p:ph type="body" idx="10" hasCustomPrompt="1"/>
          </p:nvPr>
        </p:nvSpPr>
        <p:spPr>
          <a:xfrm>
            <a:off x="8859546" y="6120001"/>
            <a:ext cx="2488989" cy="365125"/>
          </a:xfrm>
        </p:spPr>
        <p:txBody>
          <a:bodyPr anchor="ctr">
            <a:noAutofit/>
          </a:bodyPr>
          <a:lstStyle>
            <a:lvl1pPr marL="0" indent="0" algn="r">
              <a:spcBef>
                <a:spcPts val="0"/>
              </a:spcBef>
              <a:buNone/>
              <a:defRPr sz="1000" b="0">
                <a:solidFill>
                  <a:schemeClr val="bg1">
                    <a:lumMod val="75000"/>
                  </a:schemeClr>
                </a:solidFill>
                <a:latin typeface="Segoe UI" panose="020B0502040204020203" pitchFamily="34" charset="0"/>
                <a:ea typeface="Segoe UI" panose="020B0502040204020203" pitchFamily="34" charset="0"/>
                <a:cs typeface="Segoe UI" panose="020B0502040204020203" pitchFamily="34" charset="0"/>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err="1"/>
              <a:t>departament</a:t>
            </a:r>
            <a:r>
              <a:rPr lang="en-US"/>
              <a:t> </a:t>
            </a:r>
          </a:p>
        </p:txBody>
      </p:sp>
    </p:spTree>
    <p:extLst>
      <p:ext uri="{BB962C8B-B14F-4D97-AF65-F5344CB8AC3E}">
        <p14:creationId xmlns:p14="http://schemas.microsoft.com/office/powerpoint/2010/main" val="28354180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0825"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0825"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4180F-C1D7-475C-865A-A442E1E2E2F6}" type="slidenum">
              <a:rPr lang="en-US" smtClean="0"/>
              <a:t>‹#›</a:t>
            </a:fld>
            <a:endParaRPr lang="en-US"/>
          </a:p>
        </p:txBody>
      </p:sp>
    </p:spTree>
    <p:extLst>
      <p:ext uri="{BB962C8B-B14F-4D97-AF65-F5344CB8AC3E}">
        <p14:creationId xmlns:p14="http://schemas.microsoft.com/office/powerpoint/2010/main" val="6349491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 Photo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AD9D9EF-93A8-4AD0-9293-A912F1609535}"/>
              </a:ext>
            </a:extLst>
          </p:cNvPr>
          <p:cNvSpPr/>
          <p:nvPr userDrawn="1"/>
        </p:nvSpPr>
        <p:spPr>
          <a:xfrm>
            <a:off x="8483628" y="1411869"/>
            <a:ext cx="3705197" cy="48212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ectangle 3">
            <a:extLst>
              <a:ext uri="{FF2B5EF4-FFF2-40B4-BE49-F238E27FC236}">
                <a16:creationId xmlns:a16="http://schemas.microsoft.com/office/drawing/2014/main" id="{69E79D0B-0FBC-4730-8F48-331668759A21}"/>
              </a:ext>
            </a:extLst>
          </p:cNvPr>
          <p:cNvSpPr/>
          <p:nvPr userDrawn="1"/>
        </p:nvSpPr>
        <p:spPr>
          <a:xfrm>
            <a:off x="0" y="1412185"/>
            <a:ext cx="9074878" cy="482776"/>
          </a:xfrm>
          <a:custGeom>
            <a:avLst/>
            <a:gdLst>
              <a:gd name="connsiteX0" fmla="*/ 0 w 6709251"/>
              <a:gd name="connsiteY0" fmla="*/ 0 h 182880"/>
              <a:gd name="connsiteX1" fmla="*/ 6709251 w 6709251"/>
              <a:gd name="connsiteY1" fmla="*/ 0 h 182880"/>
              <a:gd name="connsiteX2" fmla="*/ 6709251 w 6709251"/>
              <a:gd name="connsiteY2" fmla="*/ 182880 h 182880"/>
              <a:gd name="connsiteX3" fmla="*/ 0 w 6709251"/>
              <a:gd name="connsiteY3" fmla="*/ 182880 h 182880"/>
              <a:gd name="connsiteX4" fmla="*/ 0 w 6709251"/>
              <a:gd name="connsiteY4" fmla="*/ 0 h 182880"/>
              <a:gd name="connsiteX0" fmla="*/ 0 w 7073510"/>
              <a:gd name="connsiteY0" fmla="*/ 0 h 182880"/>
              <a:gd name="connsiteX1" fmla="*/ 7073510 w 7073510"/>
              <a:gd name="connsiteY1" fmla="*/ 0 h 182880"/>
              <a:gd name="connsiteX2" fmla="*/ 6709251 w 7073510"/>
              <a:gd name="connsiteY2" fmla="*/ 182880 h 182880"/>
              <a:gd name="connsiteX3" fmla="*/ 0 w 7073510"/>
              <a:gd name="connsiteY3" fmla="*/ 182880 h 182880"/>
              <a:gd name="connsiteX4" fmla="*/ 0 w 7073510"/>
              <a:gd name="connsiteY4" fmla="*/ 0 h 182880"/>
              <a:gd name="connsiteX0" fmla="*/ 0 w 8678702"/>
              <a:gd name="connsiteY0" fmla="*/ 0 h 182880"/>
              <a:gd name="connsiteX1" fmla="*/ 8678702 w 8678702"/>
              <a:gd name="connsiteY1" fmla="*/ 0 h 182880"/>
              <a:gd name="connsiteX2" fmla="*/ 8314443 w 8678702"/>
              <a:gd name="connsiteY2" fmla="*/ 182880 h 182880"/>
              <a:gd name="connsiteX3" fmla="*/ 1605192 w 8678702"/>
              <a:gd name="connsiteY3" fmla="*/ 182880 h 182880"/>
              <a:gd name="connsiteX4" fmla="*/ 0 w 8678702"/>
              <a:gd name="connsiteY4" fmla="*/ 0 h 182880"/>
              <a:gd name="connsiteX0" fmla="*/ 0 w 8678702"/>
              <a:gd name="connsiteY0" fmla="*/ 0 h 186220"/>
              <a:gd name="connsiteX1" fmla="*/ 8678702 w 8678702"/>
              <a:gd name="connsiteY1" fmla="*/ 0 h 186220"/>
              <a:gd name="connsiteX2" fmla="*/ 8314443 w 8678702"/>
              <a:gd name="connsiteY2" fmla="*/ 182880 h 186220"/>
              <a:gd name="connsiteX3" fmla="*/ 6661 w 8678702"/>
              <a:gd name="connsiteY3" fmla="*/ 186220 h 186220"/>
              <a:gd name="connsiteX4" fmla="*/ 0 w 8678702"/>
              <a:gd name="connsiteY4" fmla="*/ 0 h 186220"/>
              <a:gd name="connsiteX0" fmla="*/ 133211 w 8672041"/>
              <a:gd name="connsiteY0" fmla="*/ 50097 h 186220"/>
              <a:gd name="connsiteX1" fmla="*/ 8672041 w 8672041"/>
              <a:gd name="connsiteY1" fmla="*/ 0 h 186220"/>
              <a:gd name="connsiteX2" fmla="*/ 8307782 w 8672041"/>
              <a:gd name="connsiteY2" fmla="*/ 182880 h 186220"/>
              <a:gd name="connsiteX3" fmla="*/ 0 w 8672041"/>
              <a:gd name="connsiteY3" fmla="*/ 186220 h 186220"/>
              <a:gd name="connsiteX4" fmla="*/ 133211 w 8672041"/>
              <a:gd name="connsiteY4" fmla="*/ 50097 h 186220"/>
              <a:gd name="connsiteX0" fmla="*/ 3330 w 8672041"/>
              <a:gd name="connsiteY0" fmla="*/ 3340 h 186220"/>
              <a:gd name="connsiteX1" fmla="*/ 8672041 w 8672041"/>
              <a:gd name="connsiteY1" fmla="*/ 0 h 186220"/>
              <a:gd name="connsiteX2" fmla="*/ 8307782 w 8672041"/>
              <a:gd name="connsiteY2" fmla="*/ 182880 h 186220"/>
              <a:gd name="connsiteX3" fmla="*/ 0 w 8672041"/>
              <a:gd name="connsiteY3" fmla="*/ 186220 h 186220"/>
              <a:gd name="connsiteX4" fmla="*/ 3330 w 8672041"/>
              <a:gd name="connsiteY4" fmla="*/ 3340 h 186220"/>
              <a:gd name="connsiteX0" fmla="*/ 3330 w 8672041"/>
              <a:gd name="connsiteY0" fmla="*/ 3340 h 186220"/>
              <a:gd name="connsiteX1" fmla="*/ 8672041 w 8672041"/>
              <a:gd name="connsiteY1" fmla="*/ 0 h 186220"/>
              <a:gd name="connsiteX2" fmla="*/ 8307782 w 8672041"/>
              <a:gd name="connsiteY2" fmla="*/ 182880 h 186220"/>
              <a:gd name="connsiteX3" fmla="*/ 0 w 8672041"/>
              <a:gd name="connsiteY3" fmla="*/ 186220 h 186220"/>
              <a:gd name="connsiteX4" fmla="*/ 3330 w 8672041"/>
              <a:gd name="connsiteY4" fmla="*/ 3340 h 186220"/>
              <a:gd name="connsiteX0" fmla="*/ 0 w 8674979"/>
              <a:gd name="connsiteY0" fmla="*/ 3340 h 186220"/>
              <a:gd name="connsiteX1" fmla="*/ 8674979 w 8674979"/>
              <a:gd name="connsiteY1" fmla="*/ 0 h 186220"/>
              <a:gd name="connsiteX2" fmla="*/ 8310720 w 8674979"/>
              <a:gd name="connsiteY2" fmla="*/ 182880 h 186220"/>
              <a:gd name="connsiteX3" fmla="*/ 2938 w 8674979"/>
              <a:gd name="connsiteY3" fmla="*/ 186220 h 186220"/>
              <a:gd name="connsiteX4" fmla="*/ 0 w 8674979"/>
              <a:gd name="connsiteY4" fmla="*/ 3340 h 186220"/>
              <a:gd name="connsiteX0" fmla="*/ 0 w 8674979"/>
              <a:gd name="connsiteY0" fmla="*/ 0 h 189166"/>
              <a:gd name="connsiteX1" fmla="*/ 8674979 w 8674979"/>
              <a:gd name="connsiteY1" fmla="*/ 2946 h 189166"/>
              <a:gd name="connsiteX2" fmla="*/ 8310720 w 8674979"/>
              <a:gd name="connsiteY2" fmla="*/ 185826 h 189166"/>
              <a:gd name="connsiteX3" fmla="*/ 2938 w 8674979"/>
              <a:gd name="connsiteY3" fmla="*/ 189166 h 189166"/>
              <a:gd name="connsiteX4" fmla="*/ 0 w 8674979"/>
              <a:gd name="connsiteY4" fmla="*/ 0 h 189166"/>
              <a:gd name="connsiteX0" fmla="*/ 0 w 8674979"/>
              <a:gd name="connsiteY0" fmla="*/ 444 h 189610"/>
              <a:gd name="connsiteX1" fmla="*/ 8674979 w 8674979"/>
              <a:gd name="connsiteY1" fmla="*/ 0 h 189610"/>
              <a:gd name="connsiteX2" fmla="*/ 8310720 w 8674979"/>
              <a:gd name="connsiteY2" fmla="*/ 186270 h 189610"/>
              <a:gd name="connsiteX3" fmla="*/ 2938 w 8674979"/>
              <a:gd name="connsiteY3" fmla="*/ 189610 h 189610"/>
              <a:gd name="connsiteX4" fmla="*/ 0 w 8674979"/>
              <a:gd name="connsiteY4" fmla="*/ 444 h 189610"/>
              <a:gd name="connsiteX0" fmla="*/ 0 w 8674979"/>
              <a:gd name="connsiteY0" fmla="*/ 444 h 189660"/>
              <a:gd name="connsiteX1" fmla="*/ 8674979 w 8674979"/>
              <a:gd name="connsiteY1" fmla="*/ 0 h 189660"/>
              <a:gd name="connsiteX2" fmla="*/ 8310720 w 8674979"/>
              <a:gd name="connsiteY2" fmla="*/ 189660 h 189660"/>
              <a:gd name="connsiteX3" fmla="*/ 2938 w 8674979"/>
              <a:gd name="connsiteY3" fmla="*/ 189610 h 189660"/>
              <a:gd name="connsiteX4" fmla="*/ 0 w 8674979"/>
              <a:gd name="connsiteY4" fmla="*/ 444 h 189660"/>
              <a:gd name="connsiteX0" fmla="*/ 0 w 10119577"/>
              <a:gd name="connsiteY0" fmla="*/ 0 h 189216"/>
              <a:gd name="connsiteX1" fmla="*/ 10119577 w 10119577"/>
              <a:gd name="connsiteY1" fmla="*/ 686 h 189216"/>
              <a:gd name="connsiteX2" fmla="*/ 8310720 w 10119577"/>
              <a:gd name="connsiteY2" fmla="*/ 189216 h 189216"/>
              <a:gd name="connsiteX3" fmla="*/ 2938 w 10119577"/>
              <a:gd name="connsiteY3" fmla="*/ 189166 h 189216"/>
              <a:gd name="connsiteX4" fmla="*/ 0 w 10119577"/>
              <a:gd name="connsiteY4" fmla="*/ 0 h 189216"/>
              <a:gd name="connsiteX0" fmla="*/ 0 w 10119577"/>
              <a:gd name="connsiteY0" fmla="*/ 173 h 189389"/>
              <a:gd name="connsiteX1" fmla="*/ 10119577 w 10119577"/>
              <a:gd name="connsiteY1" fmla="*/ 0 h 189389"/>
              <a:gd name="connsiteX2" fmla="*/ 8310720 w 10119577"/>
              <a:gd name="connsiteY2" fmla="*/ 189389 h 189389"/>
              <a:gd name="connsiteX3" fmla="*/ 2938 w 10119577"/>
              <a:gd name="connsiteY3" fmla="*/ 189339 h 189389"/>
              <a:gd name="connsiteX4" fmla="*/ 0 w 10119577"/>
              <a:gd name="connsiteY4" fmla="*/ 173 h 189389"/>
              <a:gd name="connsiteX0" fmla="*/ 10004 w 10129581"/>
              <a:gd name="connsiteY0" fmla="*/ 173 h 189389"/>
              <a:gd name="connsiteX1" fmla="*/ 10129581 w 10129581"/>
              <a:gd name="connsiteY1" fmla="*/ 0 h 189389"/>
              <a:gd name="connsiteX2" fmla="*/ 8320724 w 10129581"/>
              <a:gd name="connsiteY2" fmla="*/ 189389 h 189389"/>
              <a:gd name="connsiteX3" fmla="*/ 57 w 10129581"/>
              <a:gd name="connsiteY3" fmla="*/ 189339 h 189389"/>
              <a:gd name="connsiteX4" fmla="*/ 10004 w 10129581"/>
              <a:gd name="connsiteY4" fmla="*/ 173 h 189389"/>
              <a:gd name="connsiteX0" fmla="*/ 9947 w 10129524"/>
              <a:gd name="connsiteY0" fmla="*/ 173 h 189389"/>
              <a:gd name="connsiteX1" fmla="*/ 10129524 w 10129524"/>
              <a:gd name="connsiteY1" fmla="*/ 0 h 189389"/>
              <a:gd name="connsiteX2" fmla="*/ 8320667 w 10129524"/>
              <a:gd name="connsiteY2" fmla="*/ 189389 h 189389"/>
              <a:gd name="connsiteX3" fmla="*/ 0 w 10129524"/>
              <a:gd name="connsiteY3" fmla="*/ 189339 h 189389"/>
              <a:gd name="connsiteX4" fmla="*/ 9947 w 10129524"/>
              <a:gd name="connsiteY4" fmla="*/ 173 h 189389"/>
              <a:gd name="connsiteX0" fmla="*/ 9947 w 10129524"/>
              <a:gd name="connsiteY0" fmla="*/ 173 h 189389"/>
              <a:gd name="connsiteX1" fmla="*/ 10129524 w 10129524"/>
              <a:gd name="connsiteY1" fmla="*/ 0 h 189389"/>
              <a:gd name="connsiteX2" fmla="*/ 8320667 w 10129524"/>
              <a:gd name="connsiteY2" fmla="*/ 189389 h 189389"/>
              <a:gd name="connsiteX3" fmla="*/ 0 w 10129524"/>
              <a:gd name="connsiteY3" fmla="*/ 189339 h 189389"/>
              <a:gd name="connsiteX4" fmla="*/ 9947 w 10129524"/>
              <a:gd name="connsiteY4" fmla="*/ 173 h 189389"/>
              <a:gd name="connsiteX0" fmla="*/ 0 w 10119577"/>
              <a:gd name="connsiteY0" fmla="*/ 173 h 189389"/>
              <a:gd name="connsiteX1" fmla="*/ 10119577 w 10119577"/>
              <a:gd name="connsiteY1" fmla="*/ 0 h 189389"/>
              <a:gd name="connsiteX2" fmla="*/ 8310720 w 10119577"/>
              <a:gd name="connsiteY2" fmla="*/ 189389 h 189389"/>
              <a:gd name="connsiteX3" fmla="*/ 15823 w 10119577"/>
              <a:gd name="connsiteY3" fmla="*/ 189339 h 189389"/>
              <a:gd name="connsiteX4" fmla="*/ 0 w 10119577"/>
              <a:gd name="connsiteY4" fmla="*/ 173 h 189389"/>
              <a:gd name="connsiteX0" fmla="*/ 0 w 10119577"/>
              <a:gd name="connsiteY0" fmla="*/ 173 h 189389"/>
              <a:gd name="connsiteX1" fmla="*/ 10119577 w 10119577"/>
              <a:gd name="connsiteY1" fmla="*/ 0 h 189389"/>
              <a:gd name="connsiteX2" fmla="*/ 8310720 w 10119577"/>
              <a:gd name="connsiteY2" fmla="*/ 189389 h 189389"/>
              <a:gd name="connsiteX3" fmla="*/ 2938 w 10119577"/>
              <a:gd name="connsiteY3" fmla="*/ 189339 h 189389"/>
              <a:gd name="connsiteX4" fmla="*/ 0 w 10119577"/>
              <a:gd name="connsiteY4" fmla="*/ 173 h 189389"/>
              <a:gd name="connsiteX0" fmla="*/ 0 w 21540281"/>
              <a:gd name="connsiteY0" fmla="*/ 9120 h 189389"/>
              <a:gd name="connsiteX1" fmla="*/ 21540281 w 21540281"/>
              <a:gd name="connsiteY1" fmla="*/ 0 h 189389"/>
              <a:gd name="connsiteX2" fmla="*/ 19731424 w 21540281"/>
              <a:gd name="connsiteY2" fmla="*/ 189389 h 189389"/>
              <a:gd name="connsiteX3" fmla="*/ 11423642 w 21540281"/>
              <a:gd name="connsiteY3" fmla="*/ 189339 h 189389"/>
              <a:gd name="connsiteX4" fmla="*/ 0 w 21540281"/>
              <a:gd name="connsiteY4" fmla="*/ 9120 h 189389"/>
              <a:gd name="connsiteX0" fmla="*/ 0 w 21540281"/>
              <a:gd name="connsiteY0" fmla="*/ 9120 h 192321"/>
              <a:gd name="connsiteX1" fmla="*/ 21540281 w 21540281"/>
              <a:gd name="connsiteY1" fmla="*/ 0 h 192321"/>
              <a:gd name="connsiteX2" fmla="*/ 19731424 w 21540281"/>
              <a:gd name="connsiteY2" fmla="*/ 189389 h 192321"/>
              <a:gd name="connsiteX3" fmla="*/ 2942 w 21540281"/>
              <a:gd name="connsiteY3" fmla="*/ 192321 h 192321"/>
              <a:gd name="connsiteX4" fmla="*/ 0 w 21540281"/>
              <a:gd name="connsiteY4" fmla="*/ 9120 h 192321"/>
              <a:gd name="connsiteX0" fmla="*/ 0 w 21540281"/>
              <a:gd name="connsiteY0" fmla="*/ 6138 h 192321"/>
              <a:gd name="connsiteX1" fmla="*/ 21540281 w 21540281"/>
              <a:gd name="connsiteY1" fmla="*/ 0 h 192321"/>
              <a:gd name="connsiteX2" fmla="*/ 19731424 w 21540281"/>
              <a:gd name="connsiteY2" fmla="*/ 189389 h 192321"/>
              <a:gd name="connsiteX3" fmla="*/ 2942 w 21540281"/>
              <a:gd name="connsiteY3" fmla="*/ 192321 h 192321"/>
              <a:gd name="connsiteX4" fmla="*/ 0 w 21540281"/>
              <a:gd name="connsiteY4" fmla="*/ 6138 h 192321"/>
              <a:gd name="connsiteX0" fmla="*/ 2579162 w 24119443"/>
              <a:gd name="connsiteY0" fmla="*/ 6138 h 192321"/>
              <a:gd name="connsiteX1" fmla="*/ 24119443 w 24119443"/>
              <a:gd name="connsiteY1" fmla="*/ 0 h 192321"/>
              <a:gd name="connsiteX2" fmla="*/ 22310586 w 24119443"/>
              <a:gd name="connsiteY2" fmla="*/ 189389 h 192321"/>
              <a:gd name="connsiteX3" fmla="*/ 2582104 w 24119443"/>
              <a:gd name="connsiteY3" fmla="*/ 192321 h 192321"/>
              <a:gd name="connsiteX4" fmla="*/ 2579162 w 24119443"/>
              <a:gd name="connsiteY4" fmla="*/ 6138 h 192321"/>
              <a:gd name="connsiteX0" fmla="*/ 1459081 w 22999362"/>
              <a:gd name="connsiteY0" fmla="*/ 6138 h 192321"/>
              <a:gd name="connsiteX1" fmla="*/ 22999362 w 22999362"/>
              <a:gd name="connsiteY1" fmla="*/ 0 h 192321"/>
              <a:gd name="connsiteX2" fmla="*/ 21190505 w 22999362"/>
              <a:gd name="connsiteY2" fmla="*/ 189389 h 192321"/>
              <a:gd name="connsiteX3" fmla="*/ 1462023 w 22999362"/>
              <a:gd name="connsiteY3" fmla="*/ 192321 h 192321"/>
              <a:gd name="connsiteX4" fmla="*/ 1459081 w 22999362"/>
              <a:gd name="connsiteY4" fmla="*/ 6138 h 192321"/>
              <a:gd name="connsiteX0" fmla="*/ 2579108 w 24119389"/>
              <a:gd name="connsiteY0" fmla="*/ 6138 h 192321"/>
              <a:gd name="connsiteX1" fmla="*/ 24119389 w 24119389"/>
              <a:gd name="connsiteY1" fmla="*/ 0 h 192321"/>
              <a:gd name="connsiteX2" fmla="*/ 22310532 w 24119389"/>
              <a:gd name="connsiteY2" fmla="*/ 189389 h 192321"/>
              <a:gd name="connsiteX3" fmla="*/ 2582050 w 24119389"/>
              <a:gd name="connsiteY3" fmla="*/ 192321 h 192321"/>
              <a:gd name="connsiteX4" fmla="*/ 2579108 w 24119389"/>
              <a:gd name="connsiteY4" fmla="*/ 6138 h 192321"/>
              <a:gd name="connsiteX0" fmla="*/ 1594923 w 23135204"/>
              <a:gd name="connsiteY0" fmla="*/ 6138 h 192321"/>
              <a:gd name="connsiteX1" fmla="*/ 23135204 w 23135204"/>
              <a:gd name="connsiteY1" fmla="*/ 0 h 192321"/>
              <a:gd name="connsiteX2" fmla="*/ 21326347 w 23135204"/>
              <a:gd name="connsiteY2" fmla="*/ 189389 h 192321"/>
              <a:gd name="connsiteX3" fmla="*/ 1597865 w 23135204"/>
              <a:gd name="connsiteY3" fmla="*/ 192321 h 192321"/>
              <a:gd name="connsiteX4" fmla="*/ 1594923 w 23135204"/>
              <a:gd name="connsiteY4" fmla="*/ 6138 h 192321"/>
              <a:gd name="connsiteX0" fmla="*/ 1 w 21540282"/>
              <a:gd name="connsiteY0" fmla="*/ 6138 h 192321"/>
              <a:gd name="connsiteX1" fmla="*/ 21540282 w 21540282"/>
              <a:gd name="connsiteY1" fmla="*/ 0 h 192321"/>
              <a:gd name="connsiteX2" fmla="*/ 19731425 w 21540282"/>
              <a:gd name="connsiteY2" fmla="*/ 189389 h 192321"/>
              <a:gd name="connsiteX3" fmla="*/ 2943 w 21540282"/>
              <a:gd name="connsiteY3" fmla="*/ 192321 h 192321"/>
              <a:gd name="connsiteX4" fmla="*/ 1 w 21540282"/>
              <a:gd name="connsiteY4" fmla="*/ 6138 h 192321"/>
              <a:gd name="connsiteX0" fmla="*/ 0 w 21540282"/>
              <a:gd name="connsiteY0" fmla="*/ 3156 h 192321"/>
              <a:gd name="connsiteX1" fmla="*/ 21540282 w 21540282"/>
              <a:gd name="connsiteY1" fmla="*/ 0 h 192321"/>
              <a:gd name="connsiteX2" fmla="*/ 19731425 w 21540282"/>
              <a:gd name="connsiteY2" fmla="*/ 189389 h 192321"/>
              <a:gd name="connsiteX3" fmla="*/ 2943 w 21540282"/>
              <a:gd name="connsiteY3" fmla="*/ 192321 h 192321"/>
              <a:gd name="connsiteX4" fmla="*/ 0 w 21540282"/>
              <a:gd name="connsiteY4" fmla="*/ 3156 h 192321"/>
              <a:gd name="connsiteX0" fmla="*/ 0 w 21540282"/>
              <a:gd name="connsiteY0" fmla="*/ 347 h 192321"/>
              <a:gd name="connsiteX1" fmla="*/ 21540282 w 21540282"/>
              <a:gd name="connsiteY1" fmla="*/ 0 h 192321"/>
              <a:gd name="connsiteX2" fmla="*/ 19731425 w 21540282"/>
              <a:gd name="connsiteY2" fmla="*/ 189389 h 192321"/>
              <a:gd name="connsiteX3" fmla="*/ 2943 w 21540282"/>
              <a:gd name="connsiteY3" fmla="*/ 192321 h 192321"/>
              <a:gd name="connsiteX4" fmla="*/ 0 w 21540282"/>
              <a:gd name="connsiteY4" fmla="*/ 347 h 192321"/>
              <a:gd name="connsiteX0" fmla="*/ 0 w 21540282"/>
              <a:gd name="connsiteY0" fmla="*/ 347 h 192321"/>
              <a:gd name="connsiteX1" fmla="*/ 21540282 w 21540282"/>
              <a:gd name="connsiteY1" fmla="*/ 0 h 192321"/>
              <a:gd name="connsiteX2" fmla="*/ 19731425 w 21540282"/>
              <a:gd name="connsiteY2" fmla="*/ 189389 h 192321"/>
              <a:gd name="connsiteX3" fmla="*/ 2942 w 21540282"/>
              <a:gd name="connsiteY3" fmla="*/ 192321 h 192321"/>
              <a:gd name="connsiteX4" fmla="*/ 0 w 21540282"/>
              <a:gd name="connsiteY4" fmla="*/ 347 h 192321"/>
              <a:gd name="connsiteX0" fmla="*/ 0 w 21540282"/>
              <a:gd name="connsiteY0" fmla="*/ 347 h 189512"/>
              <a:gd name="connsiteX1" fmla="*/ 21540282 w 21540282"/>
              <a:gd name="connsiteY1" fmla="*/ 0 h 189512"/>
              <a:gd name="connsiteX2" fmla="*/ 19731425 w 21540282"/>
              <a:gd name="connsiteY2" fmla="*/ 189389 h 189512"/>
              <a:gd name="connsiteX3" fmla="*/ 2942 w 21540282"/>
              <a:gd name="connsiteY3" fmla="*/ 189512 h 189512"/>
              <a:gd name="connsiteX4" fmla="*/ 0 w 21540282"/>
              <a:gd name="connsiteY4" fmla="*/ 347 h 189512"/>
              <a:gd name="connsiteX0" fmla="*/ 0 w 20903501"/>
              <a:gd name="connsiteY0" fmla="*/ 347 h 189512"/>
              <a:gd name="connsiteX1" fmla="*/ 20903501 w 20903501"/>
              <a:gd name="connsiteY1" fmla="*/ 0 h 189512"/>
              <a:gd name="connsiteX2" fmla="*/ 19731425 w 20903501"/>
              <a:gd name="connsiteY2" fmla="*/ 189389 h 189512"/>
              <a:gd name="connsiteX3" fmla="*/ 2942 w 20903501"/>
              <a:gd name="connsiteY3" fmla="*/ 189512 h 189512"/>
              <a:gd name="connsiteX4" fmla="*/ 0 w 20903501"/>
              <a:gd name="connsiteY4" fmla="*/ 347 h 18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3501" h="189512">
                <a:moveTo>
                  <a:pt x="0" y="347"/>
                </a:moveTo>
                <a:lnTo>
                  <a:pt x="20903501" y="0"/>
                </a:lnTo>
                <a:lnTo>
                  <a:pt x="19731425" y="189389"/>
                </a:lnTo>
                <a:lnTo>
                  <a:pt x="2942" y="189512"/>
                </a:lnTo>
                <a:cubicBezTo>
                  <a:pt x="1961" y="125521"/>
                  <a:pt x="981" y="64338"/>
                  <a:pt x="0" y="347"/>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312801" y="3748407"/>
            <a:ext cx="8455769" cy="984333"/>
          </a:xfrm>
        </p:spPr>
        <p:txBody>
          <a:bodyPr anchor="b">
            <a:normAutofit/>
          </a:bodyPr>
          <a:lstStyle>
            <a:lvl1pPr>
              <a:defRPr>
                <a:solidFill>
                  <a:schemeClr val="tx1"/>
                </a:solidFill>
              </a:defRPr>
            </a:lvl1pPr>
          </a:lstStyle>
          <a:p>
            <a:r>
              <a:rPr lang="en-US"/>
              <a:t>Click to edit Master title style</a:t>
            </a:r>
          </a:p>
        </p:txBody>
      </p:sp>
      <p:sp>
        <p:nvSpPr>
          <p:cNvPr id="3" name="Subtitle 2"/>
          <p:cNvSpPr>
            <a:spLocks noGrp="1"/>
          </p:cNvSpPr>
          <p:nvPr>
            <p:ph type="subTitle" idx="1"/>
          </p:nvPr>
        </p:nvSpPr>
        <p:spPr>
          <a:xfrm>
            <a:off x="312801" y="4800475"/>
            <a:ext cx="8455769" cy="640767"/>
          </a:xfrm>
        </p:spPr>
        <p:txBody>
          <a:bodyPr>
            <a:norm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312801" y="5580379"/>
            <a:ext cx="3303002" cy="365125"/>
          </a:xfrm>
          <a:prstGeom prst="rect">
            <a:avLst/>
          </a:prstGeom>
        </p:spPr>
        <p:txBody>
          <a:bodyPr lIns="0" tIns="0" rIns="0" bIns="0">
            <a:normAutofit/>
          </a:bodyPr>
          <a:lstStyle>
            <a:lvl1pPr>
              <a:defRPr sz="1000">
                <a:solidFill>
                  <a:schemeClr val="tx1"/>
                </a:solidFill>
                <a:latin typeface="+mn-lt"/>
                <a:cs typeface="Arial"/>
              </a:defRPr>
            </a:lvl1pPr>
          </a:lstStyle>
          <a:p>
            <a:endParaRPr lang="en-US"/>
          </a:p>
        </p:txBody>
      </p:sp>
      <p:pic>
        <p:nvPicPr>
          <p:cNvPr id="14" name="Picture 13">
            <a:extLst>
              <a:ext uri="{FF2B5EF4-FFF2-40B4-BE49-F238E27FC236}">
                <a16:creationId xmlns:a16="http://schemas.microsoft.com/office/drawing/2014/main" id="{038F46E6-B30F-4BB4-8F82-08AD4C6EA8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71200" y="5851211"/>
            <a:ext cx="1060449" cy="822309"/>
          </a:xfrm>
          <a:prstGeom prst="rect">
            <a:avLst/>
          </a:prstGeom>
        </p:spPr>
      </p:pic>
      <p:sp>
        <p:nvSpPr>
          <p:cNvPr id="16" name="Picture Placeholder 15">
            <a:extLst>
              <a:ext uri="{FF2B5EF4-FFF2-40B4-BE49-F238E27FC236}">
                <a16:creationId xmlns:a16="http://schemas.microsoft.com/office/drawing/2014/main" id="{B1B375D4-5229-42D1-ACCC-C091DAB25EBF}"/>
              </a:ext>
            </a:extLst>
          </p:cNvPr>
          <p:cNvSpPr>
            <a:spLocks noGrp="1"/>
          </p:cNvSpPr>
          <p:nvPr>
            <p:ph type="pic" sz="quarter" idx="11" hasCustomPrompt="1"/>
          </p:nvPr>
        </p:nvSpPr>
        <p:spPr>
          <a:xfrm>
            <a:off x="-11114" y="1927755"/>
            <a:ext cx="3017520" cy="1706562"/>
          </a:xfrm>
          <a:solidFill>
            <a:schemeClr val="bg1">
              <a:lumMod val="85000"/>
            </a:schemeClr>
          </a:solidFill>
        </p:spPr>
        <p:txBody>
          <a:bodyPr anchor="ctr">
            <a:normAutofit/>
          </a:bodyPr>
          <a:lstStyle>
            <a:lvl1pPr marL="0" indent="0" algn="ctr">
              <a:buNone/>
              <a:defRPr sz="1200" b="0">
                <a:solidFill>
                  <a:schemeClr val="tx1">
                    <a:lumMod val="50000"/>
                    <a:lumOff val="50000"/>
                  </a:schemeClr>
                </a:solidFill>
              </a:defRPr>
            </a:lvl1pPr>
          </a:lstStyle>
          <a:p>
            <a:r>
              <a:rPr lang="en-US"/>
              <a:t>Insert photo here</a:t>
            </a:r>
          </a:p>
        </p:txBody>
      </p:sp>
      <p:sp>
        <p:nvSpPr>
          <p:cNvPr id="17" name="Picture Placeholder 15">
            <a:extLst>
              <a:ext uri="{FF2B5EF4-FFF2-40B4-BE49-F238E27FC236}">
                <a16:creationId xmlns:a16="http://schemas.microsoft.com/office/drawing/2014/main" id="{9AA1076D-6C42-4BB3-BA4D-45B182AC9A43}"/>
              </a:ext>
            </a:extLst>
          </p:cNvPr>
          <p:cNvSpPr>
            <a:spLocks noGrp="1"/>
          </p:cNvSpPr>
          <p:nvPr>
            <p:ph type="pic" sz="quarter" idx="12" hasCustomPrompt="1"/>
          </p:nvPr>
        </p:nvSpPr>
        <p:spPr>
          <a:xfrm>
            <a:off x="3049692" y="1927755"/>
            <a:ext cx="3017520" cy="1706562"/>
          </a:xfrm>
          <a:solidFill>
            <a:schemeClr val="bg1">
              <a:lumMod val="85000"/>
            </a:schemeClr>
          </a:solidFill>
        </p:spPr>
        <p:txBody>
          <a:bodyPr anchor="ctr">
            <a:normAutofit/>
          </a:bodyPr>
          <a:lstStyle>
            <a:lvl1pPr marL="0" indent="0" algn="ctr">
              <a:buNone/>
              <a:defRPr sz="1200" b="0">
                <a:solidFill>
                  <a:schemeClr val="tx1">
                    <a:lumMod val="50000"/>
                    <a:lumOff val="50000"/>
                  </a:schemeClr>
                </a:solidFill>
              </a:defRPr>
            </a:lvl1pPr>
          </a:lstStyle>
          <a:p>
            <a:r>
              <a:rPr lang="en-US"/>
              <a:t>Insert photo here</a:t>
            </a:r>
          </a:p>
        </p:txBody>
      </p:sp>
      <p:sp>
        <p:nvSpPr>
          <p:cNvPr id="18" name="Picture Placeholder 15">
            <a:extLst>
              <a:ext uri="{FF2B5EF4-FFF2-40B4-BE49-F238E27FC236}">
                <a16:creationId xmlns:a16="http://schemas.microsoft.com/office/drawing/2014/main" id="{94262E97-B7F8-4095-A959-B2C6D66AE085}"/>
              </a:ext>
            </a:extLst>
          </p:cNvPr>
          <p:cNvSpPr>
            <a:spLocks noGrp="1"/>
          </p:cNvSpPr>
          <p:nvPr>
            <p:ph type="pic" sz="quarter" idx="13" hasCustomPrompt="1"/>
          </p:nvPr>
        </p:nvSpPr>
        <p:spPr>
          <a:xfrm>
            <a:off x="6110498" y="1927755"/>
            <a:ext cx="3017520" cy="1706562"/>
          </a:xfrm>
          <a:solidFill>
            <a:schemeClr val="bg1">
              <a:lumMod val="85000"/>
            </a:schemeClr>
          </a:solidFill>
        </p:spPr>
        <p:txBody>
          <a:bodyPr anchor="ctr">
            <a:normAutofit/>
          </a:bodyPr>
          <a:lstStyle>
            <a:lvl1pPr marL="0" indent="0" algn="ctr">
              <a:buNone/>
              <a:defRPr sz="1200" b="0">
                <a:solidFill>
                  <a:schemeClr val="tx1">
                    <a:lumMod val="50000"/>
                    <a:lumOff val="50000"/>
                  </a:schemeClr>
                </a:solidFill>
              </a:defRPr>
            </a:lvl1pPr>
          </a:lstStyle>
          <a:p>
            <a:r>
              <a:rPr lang="en-US"/>
              <a:t>Insert photo here</a:t>
            </a:r>
          </a:p>
        </p:txBody>
      </p:sp>
      <p:sp>
        <p:nvSpPr>
          <p:cNvPr id="19" name="Picture Placeholder 15">
            <a:extLst>
              <a:ext uri="{FF2B5EF4-FFF2-40B4-BE49-F238E27FC236}">
                <a16:creationId xmlns:a16="http://schemas.microsoft.com/office/drawing/2014/main" id="{C14C4D13-49AC-4208-BEFF-0899F4B2E2E1}"/>
              </a:ext>
            </a:extLst>
          </p:cNvPr>
          <p:cNvSpPr>
            <a:spLocks noGrp="1"/>
          </p:cNvSpPr>
          <p:nvPr>
            <p:ph type="pic" sz="quarter" idx="14" hasCustomPrompt="1"/>
          </p:nvPr>
        </p:nvSpPr>
        <p:spPr>
          <a:xfrm>
            <a:off x="9171305" y="1927755"/>
            <a:ext cx="3017520" cy="1706562"/>
          </a:xfrm>
          <a:solidFill>
            <a:schemeClr val="bg1">
              <a:lumMod val="85000"/>
            </a:schemeClr>
          </a:solidFill>
        </p:spPr>
        <p:txBody>
          <a:bodyPr anchor="ctr">
            <a:normAutofit/>
          </a:bodyPr>
          <a:lstStyle>
            <a:lvl1pPr marL="0" indent="0" algn="ctr">
              <a:buNone/>
              <a:defRPr sz="1200" b="0">
                <a:solidFill>
                  <a:schemeClr val="tx1">
                    <a:lumMod val="50000"/>
                    <a:lumOff val="50000"/>
                  </a:schemeClr>
                </a:solidFill>
              </a:defRPr>
            </a:lvl1pPr>
          </a:lstStyle>
          <a:p>
            <a:r>
              <a:rPr lang="en-US"/>
              <a:t>Insert photo here</a:t>
            </a:r>
          </a:p>
        </p:txBody>
      </p:sp>
    </p:spTree>
    <p:extLst>
      <p:ext uri="{BB962C8B-B14F-4D97-AF65-F5344CB8AC3E}">
        <p14:creationId xmlns:p14="http://schemas.microsoft.com/office/powerpoint/2010/main" val="20412627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4180F-C1D7-475C-865A-A442E1E2E2F6}" type="slidenum">
              <a:rPr lang="en-US" smtClean="0"/>
              <a:t>‹#›</a:t>
            </a:fld>
            <a:endParaRPr lang="en-US"/>
          </a:p>
        </p:txBody>
      </p:sp>
    </p:spTree>
    <p:extLst>
      <p:ext uri="{BB962C8B-B14F-4D97-AF65-F5344CB8AC3E}">
        <p14:creationId xmlns:p14="http://schemas.microsoft.com/office/powerpoint/2010/main" val="12740272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2425"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24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4180F-C1D7-475C-865A-A442E1E2E2F6}" type="slidenum">
              <a:rPr lang="en-US" smtClean="0"/>
              <a:t>‹#›</a:t>
            </a:fld>
            <a:endParaRPr lang="en-US"/>
          </a:p>
        </p:txBody>
      </p:sp>
    </p:spTree>
    <p:extLst>
      <p:ext uri="{BB962C8B-B14F-4D97-AF65-F5344CB8AC3E}">
        <p14:creationId xmlns:p14="http://schemas.microsoft.com/office/powerpoint/2010/main" val="21333542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0013"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613" y="1825625"/>
            <a:ext cx="5180012"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AA4180F-C1D7-475C-865A-A442E1E2E2F6}" type="slidenum">
              <a:rPr lang="en-US" smtClean="0"/>
              <a:t>‹#›</a:t>
            </a:fld>
            <a:endParaRPr lang="en-US"/>
          </a:p>
        </p:txBody>
      </p:sp>
    </p:spTree>
    <p:extLst>
      <p:ext uri="{BB962C8B-B14F-4D97-AF65-F5344CB8AC3E}">
        <p14:creationId xmlns:p14="http://schemas.microsoft.com/office/powerpoint/2010/main" val="13423690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2425"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62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620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0613" y="1681163"/>
            <a:ext cx="51816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0613" y="2505075"/>
            <a:ext cx="518160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AA4180F-C1D7-475C-865A-A442E1E2E2F6}" type="slidenum">
              <a:rPr lang="en-US" smtClean="0"/>
              <a:t>‹#›</a:t>
            </a:fld>
            <a:endParaRPr lang="en-US"/>
          </a:p>
        </p:txBody>
      </p:sp>
    </p:spTree>
    <p:extLst>
      <p:ext uri="{BB962C8B-B14F-4D97-AF65-F5344CB8AC3E}">
        <p14:creationId xmlns:p14="http://schemas.microsoft.com/office/powerpoint/2010/main" val="27160719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AA4180F-C1D7-475C-865A-A442E1E2E2F6}" type="slidenum">
              <a:rPr lang="en-US" smtClean="0"/>
              <a:t>‹#›</a:t>
            </a:fld>
            <a:endParaRPr lang="en-US"/>
          </a:p>
        </p:txBody>
      </p:sp>
    </p:spTree>
    <p:extLst>
      <p:ext uri="{BB962C8B-B14F-4D97-AF65-F5344CB8AC3E}">
        <p14:creationId xmlns:p14="http://schemas.microsoft.com/office/powerpoint/2010/main" val="34427705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AA4180F-C1D7-475C-865A-A442E1E2E2F6}" type="slidenum">
              <a:rPr lang="en-US" smtClean="0"/>
              <a:t>‹#›</a:t>
            </a:fld>
            <a:endParaRPr lang="en-US"/>
          </a:p>
        </p:txBody>
      </p:sp>
    </p:spTree>
    <p:extLst>
      <p:ext uri="{BB962C8B-B14F-4D97-AF65-F5344CB8AC3E}">
        <p14:creationId xmlns:p14="http://schemas.microsoft.com/office/powerpoint/2010/main" val="1990072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0650"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1600" y="987425"/>
            <a:ext cx="61706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06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AA4180F-C1D7-475C-865A-A442E1E2E2F6}" type="slidenum">
              <a:rPr lang="en-US" smtClean="0"/>
              <a:t>‹#›</a:t>
            </a:fld>
            <a:endParaRPr lang="en-US"/>
          </a:p>
        </p:txBody>
      </p:sp>
    </p:spTree>
    <p:extLst>
      <p:ext uri="{BB962C8B-B14F-4D97-AF65-F5344CB8AC3E}">
        <p14:creationId xmlns:p14="http://schemas.microsoft.com/office/powerpoint/2010/main" val="34457149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0650"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1600" y="987425"/>
            <a:ext cx="6170613"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06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AA4180F-C1D7-475C-865A-A442E1E2E2F6}" type="slidenum">
              <a:rPr lang="en-US" smtClean="0"/>
              <a:t>‹#›</a:t>
            </a:fld>
            <a:endParaRPr lang="en-US"/>
          </a:p>
        </p:txBody>
      </p:sp>
    </p:spTree>
    <p:extLst>
      <p:ext uri="{BB962C8B-B14F-4D97-AF65-F5344CB8AC3E}">
        <p14:creationId xmlns:p14="http://schemas.microsoft.com/office/powerpoint/2010/main" val="2856029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4180F-C1D7-475C-865A-A442E1E2E2F6}" type="slidenum">
              <a:rPr lang="en-US" smtClean="0"/>
              <a:t>‹#›</a:t>
            </a:fld>
            <a:endParaRPr lang="en-US"/>
          </a:p>
        </p:txBody>
      </p:sp>
    </p:spTree>
    <p:extLst>
      <p:ext uri="{BB962C8B-B14F-4D97-AF65-F5344CB8AC3E}">
        <p14:creationId xmlns:p14="http://schemas.microsoft.com/office/powerpoint/2010/main" val="42234723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3313" y="365125"/>
            <a:ext cx="2627312"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2713"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4180F-C1D7-475C-865A-A442E1E2E2F6}" type="slidenum">
              <a:rPr lang="en-US" smtClean="0"/>
              <a:t>‹#›</a:t>
            </a:fld>
            <a:endParaRPr lang="en-US"/>
          </a:p>
        </p:txBody>
      </p:sp>
    </p:spTree>
    <p:extLst>
      <p:ext uri="{BB962C8B-B14F-4D97-AF65-F5344CB8AC3E}">
        <p14:creationId xmlns:p14="http://schemas.microsoft.com/office/powerpoint/2010/main" val="2763007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ctrTitle"/>
          </p:nvPr>
        </p:nvSpPr>
        <p:spPr>
          <a:xfrm>
            <a:off x="312801" y="2817076"/>
            <a:ext cx="8455769" cy="984333"/>
          </a:xfrm>
        </p:spPr>
        <p:txBody>
          <a:bodyPr anchor="b">
            <a:normAutofit/>
          </a:bodyPr>
          <a:lstStyle>
            <a:lvl1pPr>
              <a:defRPr>
                <a:solidFill>
                  <a:schemeClr val="tx1"/>
                </a:solidFill>
              </a:defRPr>
            </a:lvl1pPr>
          </a:lstStyle>
          <a:p>
            <a:r>
              <a:rPr lang="en-US"/>
              <a:t>Click to edit Master title style</a:t>
            </a:r>
          </a:p>
        </p:txBody>
      </p:sp>
      <p:sp>
        <p:nvSpPr>
          <p:cNvPr id="3" name="Subtitle 2"/>
          <p:cNvSpPr>
            <a:spLocks noGrp="1"/>
          </p:cNvSpPr>
          <p:nvPr>
            <p:ph type="subTitle" idx="1"/>
          </p:nvPr>
        </p:nvSpPr>
        <p:spPr>
          <a:xfrm>
            <a:off x="312801" y="3869144"/>
            <a:ext cx="8455769" cy="640767"/>
          </a:xfrm>
        </p:spPr>
        <p:txBody>
          <a:bodyPr>
            <a:norm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2" name="Rectangle 11">
            <a:extLst>
              <a:ext uri="{FF2B5EF4-FFF2-40B4-BE49-F238E27FC236}">
                <a16:creationId xmlns:a16="http://schemas.microsoft.com/office/drawing/2014/main" id="{7A85F325-7987-4A1E-820A-9A64A1B13356}"/>
              </a:ext>
            </a:extLst>
          </p:cNvPr>
          <p:cNvSpPr/>
          <p:nvPr userDrawn="1"/>
        </p:nvSpPr>
        <p:spPr>
          <a:xfrm>
            <a:off x="8483628" y="2209310"/>
            <a:ext cx="3705197" cy="48212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3">
            <a:extLst>
              <a:ext uri="{FF2B5EF4-FFF2-40B4-BE49-F238E27FC236}">
                <a16:creationId xmlns:a16="http://schemas.microsoft.com/office/drawing/2014/main" id="{352936BF-BEFE-420D-886B-904153FF49AA}"/>
              </a:ext>
            </a:extLst>
          </p:cNvPr>
          <p:cNvSpPr/>
          <p:nvPr userDrawn="1"/>
        </p:nvSpPr>
        <p:spPr>
          <a:xfrm>
            <a:off x="0" y="2209626"/>
            <a:ext cx="9074878" cy="482776"/>
          </a:xfrm>
          <a:custGeom>
            <a:avLst/>
            <a:gdLst>
              <a:gd name="connsiteX0" fmla="*/ 0 w 6709251"/>
              <a:gd name="connsiteY0" fmla="*/ 0 h 182880"/>
              <a:gd name="connsiteX1" fmla="*/ 6709251 w 6709251"/>
              <a:gd name="connsiteY1" fmla="*/ 0 h 182880"/>
              <a:gd name="connsiteX2" fmla="*/ 6709251 w 6709251"/>
              <a:gd name="connsiteY2" fmla="*/ 182880 h 182880"/>
              <a:gd name="connsiteX3" fmla="*/ 0 w 6709251"/>
              <a:gd name="connsiteY3" fmla="*/ 182880 h 182880"/>
              <a:gd name="connsiteX4" fmla="*/ 0 w 6709251"/>
              <a:gd name="connsiteY4" fmla="*/ 0 h 182880"/>
              <a:gd name="connsiteX0" fmla="*/ 0 w 7073510"/>
              <a:gd name="connsiteY0" fmla="*/ 0 h 182880"/>
              <a:gd name="connsiteX1" fmla="*/ 7073510 w 7073510"/>
              <a:gd name="connsiteY1" fmla="*/ 0 h 182880"/>
              <a:gd name="connsiteX2" fmla="*/ 6709251 w 7073510"/>
              <a:gd name="connsiteY2" fmla="*/ 182880 h 182880"/>
              <a:gd name="connsiteX3" fmla="*/ 0 w 7073510"/>
              <a:gd name="connsiteY3" fmla="*/ 182880 h 182880"/>
              <a:gd name="connsiteX4" fmla="*/ 0 w 7073510"/>
              <a:gd name="connsiteY4" fmla="*/ 0 h 182880"/>
              <a:gd name="connsiteX0" fmla="*/ 0 w 8678702"/>
              <a:gd name="connsiteY0" fmla="*/ 0 h 182880"/>
              <a:gd name="connsiteX1" fmla="*/ 8678702 w 8678702"/>
              <a:gd name="connsiteY1" fmla="*/ 0 h 182880"/>
              <a:gd name="connsiteX2" fmla="*/ 8314443 w 8678702"/>
              <a:gd name="connsiteY2" fmla="*/ 182880 h 182880"/>
              <a:gd name="connsiteX3" fmla="*/ 1605192 w 8678702"/>
              <a:gd name="connsiteY3" fmla="*/ 182880 h 182880"/>
              <a:gd name="connsiteX4" fmla="*/ 0 w 8678702"/>
              <a:gd name="connsiteY4" fmla="*/ 0 h 182880"/>
              <a:gd name="connsiteX0" fmla="*/ 0 w 8678702"/>
              <a:gd name="connsiteY0" fmla="*/ 0 h 186220"/>
              <a:gd name="connsiteX1" fmla="*/ 8678702 w 8678702"/>
              <a:gd name="connsiteY1" fmla="*/ 0 h 186220"/>
              <a:gd name="connsiteX2" fmla="*/ 8314443 w 8678702"/>
              <a:gd name="connsiteY2" fmla="*/ 182880 h 186220"/>
              <a:gd name="connsiteX3" fmla="*/ 6661 w 8678702"/>
              <a:gd name="connsiteY3" fmla="*/ 186220 h 186220"/>
              <a:gd name="connsiteX4" fmla="*/ 0 w 8678702"/>
              <a:gd name="connsiteY4" fmla="*/ 0 h 186220"/>
              <a:gd name="connsiteX0" fmla="*/ 133211 w 8672041"/>
              <a:gd name="connsiteY0" fmla="*/ 50097 h 186220"/>
              <a:gd name="connsiteX1" fmla="*/ 8672041 w 8672041"/>
              <a:gd name="connsiteY1" fmla="*/ 0 h 186220"/>
              <a:gd name="connsiteX2" fmla="*/ 8307782 w 8672041"/>
              <a:gd name="connsiteY2" fmla="*/ 182880 h 186220"/>
              <a:gd name="connsiteX3" fmla="*/ 0 w 8672041"/>
              <a:gd name="connsiteY3" fmla="*/ 186220 h 186220"/>
              <a:gd name="connsiteX4" fmla="*/ 133211 w 8672041"/>
              <a:gd name="connsiteY4" fmla="*/ 50097 h 186220"/>
              <a:gd name="connsiteX0" fmla="*/ 3330 w 8672041"/>
              <a:gd name="connsiteY0" fmla="*/ 3340 h 186220"/>
              <a:gd name="connsiteX1" fmla="*/ 8672041 w 8672041"/>
              <a:gd name="connsiteY1" fmla="*/ 0 h 186220"/>
              <a:gd name="connsiteX2" fmla="*/ 8307782 w 8672041"/>
              <a:gd name="connsiteY2" fmla="*/ 182880 h 186220"/>
              <a:gd name="connsiteX3" fmla="*/ 0 w 8672041"/>
              <a:gd name="connsiteY3" fmla="*/ 186220 h 186220"/>
              <a:gd name="connsiteX4" fmla="*/ 3330 w 8672041"/>
              <a:gd name="connsiteY4" fmla="*/ 3340 h 186220"/>
              <a:gd name="connsiteX0" fmla="*/ 3330 w 8672041"/>
              <a:gd name="connsiteY0" fmla="*/ 3340 h 186220"/>
              <a:gd name="connsiteX1" fmla="*/ 8672041 w 8672041"/>
              <a:gd name="connsiteY1" fmla="*/ 0 h 186220"/>
              <a:gd name="connsiteX2" fmla="*/ 8307782 w 8672041"/>
              <a:gd name="connsiteY2" fmla="*/ 182880 h 186220"/>
              <a:gd name="connsiteX3" fmla="*/ 0 w 8672041"/>
              <a:gd name="connsiteY3" fmla="*/ 186220 h 186220"/>
              <a:gd name="connsiteX4" fmla="*/ 3330 w 8672041"/>
              <a:gd name="connsiteY4" fmla="*/ 3340 h 186220"/>
              <a:gd name="connsiteX0" fmla="*/ 0 w 8674979"/>
              <a:gd name="connsiteY0" fmla="*/ 3340 h 186220"/>
              <a:gd name="connsiteX1" fmla="*/ 8674979 w 8674979"/>
              <a:gd name="connsiteY1" fmla="*/ 0 h 186220"/>
              <a:gd name="connsiteX2" fmla="*/ 8310720 w 8674979"/>
              <a:gd name="connsiteY2" fmla="*/ 182880 h 186220"/>
              <a:gd name="connsiteX3" fmla="*/ 2938 w 8674979"/>
              <a:gd name="connsiteY3" fmla="*/ 186220 h 186220"/>
              <a:gd name="connsiteX4" fmla="*/ 0 w 8674979"/>
              <a:gd name="connsiteY4" fmla="*/ 3340 h 186220"/>
              <a:gd name="connsiteX0" fmla="*/ 0 w 8674979"/>
              <a:gd name="connsiteY0" fmla="*/ 0 h 189166"/>
              <a:gd name="connsiteX1" fmla="*/ 8674979 w 8674979"/>
              <a:gd name="connsiteY1" fmla="*/ 2946 h 189166"/>
              <a:gd name="connsiteX2" fmla="*/ 8310720 w 8674979"/>
              <a:gd name="connsiteY2" fmla="*/ 185826 h 189166"/>
              <a:gd name="connsiteX3" fmla="*/ 2938 w 8674979"/>
              <a:gd name="connsiteY3" fmla="*/ 189166 h 189166"/>
              <a:gd name="connsiteX4" fmla="*/ 0 w 8674979"/>
              <a:gd name="connsiteY4" fmla="*/ 0 h 189166"/>
              <a:gd name="connsiteX0" fmla="*/ 0 w 8674979"/>
              <a:gd name="connsiteY0" fmla="*/ 444 h 189610"/>
              <a:gd name="connsiteX1" fmla="*/ 8674979 w 8674979"/>
              <a:gd name="connsiteY1" fmla="*/ 0 h 189610"/>
              <a:gd name="connsiteX2" fmla="*/ 8310720 w 8674979"/>
              <a:gd name="connsiteY2" fmla="*/ 186270 h 189610"/>
              <a:gd name="connsiteX3" fmla="*/ 2938 w 8674979"/>
              <a:gd name="connsiteY3" fmla="*/ 189610 h 189610"/>
              <a:gd name="connsiteX4" fmla="*/ 0 w 8674979"/>
              <a:gd name="connsiteY4" fmla="*/ 444 h 189610"/>
              <a:gd name="connsiteX0" fmla="*/ 0 w 8674979"/>
              <a:gd name="connsiteY0" fmla="*/ 444 h 189660"/>
              <a:gd name="connsiteX1" fmla="*/ 8674979 w 8674979"/>
              <a:gd name="connsiteY1" fmla="*/ 0 h 189660"/>
              <a:gd name="connsiteX2" fmla="*/ 8310720 w 8674979"/>
              <a:gd name="connsiteY2" fmla="*/ 189660 h 189660"/>
              <a:gd name="connsiteX3" fmla="*/ 2938 w 8674979"/>
              <a:gd name="connsiteY3" fmla="*/ 189610 h 189660"/>
              <a:gd name="connsiteX4" fmla="*/ 0 w 8674979"/>
              <a:gd name="connsiteY4" fmla="*/ 444 h 189660"/>
              <a:gd name="connsiteX0" fmla="*/ 0 w 10119577"/>
              <a:gd name="connsiteY0" fmla="*/ 0 h 189216"/>
              <a:gd name="connsiteX1" fmla="*/ 10119577 w 10119577"/>
              <a:gd name="connsiteY1" fmla="*/ 686 h 189216"/>
              <a:gd name="connsiteX2" fmla="*/ 8310720 w 10119577"/>
              <a:gd name="connsiteY2" fmla="*/ 189216 h 189216"/>
              <a:gd name="connsiteX3" fmla="*/ 2938 w 10119577"/>
              <a:gd name="connsiteY3" fmla="*/ 189166 h 189216"/>
              <a:gd name="connsiteX4" fmla="*/ 0 w 10119577"/>
              <a:gd name="connsiteY4" fmla="*/ 0 h 189216"/>
              <a:gd name="connsiteX0" fmla="*/ 0 w 10119577"/>
              <a:gd name="connsiteY0" fmla="*/ 173 h 189389"/>
              <a:gd name="connsiteX1" fmla="*/ 10119577 w 10119577"/>
              <a:gd name="connsiteY1" fmla="*/ 0 h 189389"/>
              <a:gd name="connsiteX2" fmla="*/ 8310720 w 10119577"/>
              <a:gd name="connsiteY2" fmla="*/ 189389 h 189389"/>
              <a:gd name="connsiteX3" fmla="*/ 2938 w 10119577"/>
              <a:gd name="connsiteY3" fmla="*/ 189339 h 189389"/>
              <a:gd name="connsiteX4" fmla="*/ 0 w 10119577"/>
              <a:gd name="connsiteY4" fmla="*/ 173 h 189389"/>
              <a:gd name="connsiteX0" fmla="*/ 10004 w 10129581"/>
              <a:gd name="connsiteY0" fmla="*/ 173 h 189389"/>
              <a:gd name="connsiteX1" fmla="*/ 10129581 w 10129581"/>
              <a:gd name="connsiteY1" fmla="*/ 0 h 189389"/>
              <a:gd name="connsiteX2" fmla="*/ 8320724 w 10129581"/>
              <a:gd name="connsiteY2" fmla="*/ 189389 h 189389"/>
              <a:gd name="connsiteX3" fmla="*/ 57 w 10129581"/>
              <a:gd name="connsiteY3" fmla="*/ 189339 h 189389"/>
              <a:gd name="connsiteX4" fmla="*/ 10004 w 10129581"/>
              <a:gd name="connsiteY4" fmla="*/ 173 h 189389"/>
              <a:gd name="connsiteX0" fmla="*/ 9947 w 10129524"/>
              <a:gd name="connsiteY0" fmla="*/ 173 h 189389"/>
              <a:gd name="connsiteX1" fmla="*/ 10129524 w 10129524"/>
              <a:gd name="connsiteY1" fmla="*/ 0 h 189389"/>
              <a:gd name="connsiteX2" fmla="*/ 8320667 w 10129524"/>
              <a:gd name="connsiteY2" fmla="*/ 189389 h 189389"/>
              <a:gd name="connsiteX3" fmla="*/ 0 w 10129524"/>
              <a:gd name="connsiteY3" fmla="*/ 189339 h 189389"/>
              <a:gd name="connsiteX4" fmla="*/ 9947 w 10129524"/>
              <a:gd name="connsiteY4" fmla="*/ 173 h 189389"/>
              <a:gd name="connsiteX0" fmla="*/ 9947 w 10129524"/>
              <a:gd name="connsiteY0" fmla="*/ 173 h 189389"/>
              <a:gd name="connsiteX1" fmla="*/ 10129524 w 10129524"/>
              <a:gd name="connsiteY1" fmla="*/ 0 h 189389"/>
              <a:gd name="connsiteX2" fmla="*/ 8320667 w 10129524"/>
              <a:gd name="connsiteY2" fmla="*/ 189389 h 189389"/>
              <a:gd name="connsiteX3" fmla="*/ 0 w 10129524"/>
              <a:gd name="connsiteY3" fmla="*/ 189339 h 189389"/>
              <a:gd name="connsiteX4" fmla="*/ 9947 w 10129524"/>
              <a:gd name="connsiteY4" fmla="*/ 173 h 189389"/>
              <a:gd name="connsiteX0" fmla="*/ 0 w 10119577"/>
              <a:gd name="connsiteY0" fmla="*/ 173 h 189389"/>
              <a:gd name="connsiteX1" fmla="*/ 10119577 w 10119577"/>
              <a:gd name="connsiteY1" fmla="*/ 0 h 189389"/>
              <a:gd name="connsiteX2" fmla="*/ 8310720 w 10119577"/>
              <a:gd name="connsiteY2" fmla="*/ 189389 h 189389"/>
              <a:gd name="connsiteX3" fmla="*/ 15823 w 10119577"/>
              <a:gd name="connsiteY3" fmla="*/ 189339 h 189389"/>
              <a:gd name="connsiteX4" fmla="*/ 0 w 10119577"/>
              <a:gd name="connsiteY4" fmla="*/ 173 h 189389"/>
              <a:gd name="connsiteX0" fmla="*/ 0 w 10119577"/>
              <a:gd name="connsiteY0" fmla="*/ 173 h 189389"/>
              <a:gd name="connsiteX1" fmla="*/ 10119577 w 10119577"/>
              <a:gd name="connsiteY1" fmla="*/ 0 h 189389"/>
              <a:gd name="connsiteX2" fmla="*/ 8310720 w 10119577"/>
              <a:gd name="connsiteY2" fmla="*/ 189389 h 189389"/>
              <a:gd name="connsiteX3" fmla="*/ 2938 w 10119577"/>
              <a:gd name="connsiteY3" fmla="*/ 189339 h 189389"/>
              <a:gd name="connsiteX4" fmla="*/ 0 w 10119577"/>
              <a:gd name="connsiteY4" fmla="*/ 173 h 189389"/>
              <a:gd name="connsiteX0" fmla="*/ 0 w 21540281"/>
              <a:gd name="connsiteY0" fmla="*/ 9120 h 189389"/>
              <a:gd name="connsiteX1" fmla="*/ 21540281 w 21540281"/>
              <a:gd name="connsiteY1" fmla="*/ 0 h 189389"/>
              <a:gd name="connsiteX2" fmla="*/ 19731424 w 21540281"/>
              <a:gd name="connsiteY2" fmla="*/ 189389 h 189389"/>
              <a:gd name="connsiteX3" fmla="*/ 11423642 w 21540281"/>
              <a:gd name="connsiteY3" fmla="*/ 189339 h 189389"/>
              <a:gd name="connsiteX4" fmla="*/ 0 w 21540281"/>
              <a:gd name="connsiteY4" fmla="*/ 9120 h 189389"/>
              <a:gd name="connsiteX0" fmla="*/ 0 w 21540281"/>
              <a:gd name="connsiteY0" fmla="*/ 9120 h 192321"/>
              <a:gd name="connsiteX1" fmla="*/ 21540281 w 21540281"/>
              <a:gd name="connsiteY1" fmla="*/ 0 h 192321"/>
              <a:gd name="connsiteX2" fmla="*/ 19731424 w 21540281"/>
              <a:gd name="connsiteY2" fmla="*/ 189389 h 192321"/>
              <a:gd name="connsiteX3" fmla="*/ 2942 w 21540281"/>
              <a:gd name="connsiteY3" fmla="*/ 192321 h 192321"/>
              <a:gd name="connsiteX4" fmla="*/ 0 w 21540281"/>
              <a:gd name="connsiteY4" fmla="*/ 9120 h 192321"/>
              <a:gd name="connsiteX0" fmla="*/ 0 w 21540281"/>
              <a:gd name="connsiteY0" fmla="*/ 6138 h 192321"/>
              <a:gd name="connsiteX1" fmla="*/ 21540281 w 21540281"/>
              <a:gd name="connsiteY1" fmla="*/ 0 h 192321"/>
              <a:gd name="connsiteX2" fmla="*/ 19731424 w 21540281"/>
              <a:gd name="connsiteY2" fmla="*/ 189389 h 192321"/>
              <a:gd name="connsiteX3" fmla="*/ 2942 w 21540281"/>
              <a:gd name="connsiteY3" fmla="*/ 192321 h 192321"/>
              <a:gd name="connsiteX4" fmla="*/ 0 w 21540281"/>
              <a:gd name="connsiteY4" fmla="*/ 6138 h 192321"/>
              <a:gd name="connsiteX0" fmla="*/ 2579162 w 24119443"/>
              <a:gd name="connsiteY0" fmla="*/ 6138 h 192321"/>
              <a:gd name="connsiteX1" fmla="*/ 24119443 w 24119443"/>
              <a:gd name="connsiteY1" fmla="*/ 0 h 192321"/>
              <a:gd name="connsiteX2" fmla="*/ 22310586 w 24119443"/>
              <a:gd name="connsiteY2" fmla="*/ 189389 h 192321"/>
              <a:gd name="connsiteX3" fmla="*/ 2582104 w 24119443"/>
              <a:gd name="connsiteY3" fmla="*/ 192321 h 192321"/>
              <a:gd name="connsiteX4" fmla="*/ 2579162 w 24119443"/>
              <a:gd name="connsiteY4" fmla="*/ 6138 h 192321"/>
              <a:gd name="connsiteX0" fmla="*/ 1459081 w 22999362"/>
              <a:gd name="connsiteY0" fmla="*/ 6138 h 192321"/>
              <a:gd name="connsiteX1" fmla="*/ 22999362 w 22999362"/>
              <a:gd name="connsiteY1" fmla="*/ 0 h 192321"/>
              <a:gd name="connsiteX2" fmla="*/ 21190505 w 22999362"/>
              <a:gd name="connsiteY2" fmla="*/ 189389 h 192321"/>
              <a:gd name="connsiteX3" fmla="*/ 1462023 w 22999362"/>
              <a:gd name="connsiteY3" fmla="*/ 192321 h 192321"/>
              <a:gd name="connsiteX4" fmla="*/ 1459081 w 22999362"/>
              <a:gd name="connsiteY4" fmla="*/ 6138 h 192321"/>
              <a:gd name="connsiteX0" fmla="*/ 2579108 w 24119389"/>
              <a:gd name="connsiteY0" fmla="*/ 6138 h 192321"/>
              <a:gd name="connsiteX1" fmla="*/ 24119389 w 24119389"/>
              <a:gd name="connsiteY1" fmla="*/ 0 h 192321"/>
              <a:gd name="connsiteX2" fmla="*/ 22310532 w 24119389"/>
              <a:gd name="connsiteY2" fmla="*/ 189389 h 192321"/>
              <a:gd name="connsiteX3" fmla="*/ 2582050 w 24119389"/>
              <a:gd name="connsiteY3" fmla="*/ 192321 h 192321"/>
              <a:gd name="connsiteX4" fmla="*/ 2579108 w 24119389"/>
              <a:gd name="connsiteY4" fmla="*/ 6138 h 192321"/>
              <a:gd name="connsiteX0" fmla="*/ 1594923 w 23135204"/>
              <a:gd name="connsiteY0" fmla="*/ 6138 h 192321"/>
              <a:gd name="connsiteX1" fmla="*/ 23135204 w 23135204"/>
              <a:gd name="connsiteY1" fmla="*/ 0 h 192321"/>
              <a:gd name="connsiteX2" fmla="*/ 21326347 w 23135204"/>
              <a:gd name="connsiteY2" fmla="*/ 189389 h 192321"/>
              <a:gd name="connsiteX3" fmla="*/ 1597865 w 23135204"/>
              <a:gd name="connsiteY3" fmla="*/ 192321 h 192321"/>
              <a:gd name="connsiteX4" fmla="*/ 1594923 w 23135204"/>
              <a:gd name="connsiteY4" fmla="*/ 6138 h 192321"/>
              <a:gd name="connsiteX0" fmla="*/ 1 w 21540282"/>
              <a:gd name="connsiteY0" fmla="*/ 6138 h 192321"/>
              <a:gd name="connsiteX1" fmla="*/ 21540282 w 21540282"/>
              <a:gd name="connsiteY1" fmla="*/ 0 h 192321"/>
              <a:gd name="connsiteX2" fmla="*/ 19731425 w 21540282"/>
              <a:gd name="connsiteY2" fmla="*/ 189389 h 192321"/>
              <a:gd name="connsiteX3" fmla="*/ 2943 w 21540282"/>
              <a:gd name="connsiteY3" fmla="*/ 192321 h 192321"/>
              <a:gd name="connsiteX4" fmla="*/ 1 w 21540282"/>
              <a:gd name="connsiteY4" fmla="*/ 6138 h 192321"/>
              <a:gd name="connsiteX0" fmla="*/ 0 w 21540282"/>
              <a:gd name="connsiteY0" fmla="*/ 3156 h 192321"/>
              <a:gd name="connsiteX1" fmla="*/ 21540282 w 21540282"/>
              <a:gd name="connsiteY1" fmla="*/ 0 h 192321"/>
              <a:gd name="connsiteX2" fmla="*/ 19731425 w 21540282"/>
              <a:gd name="connsiteY2" fmla="*/ 189389 h 192321"/>
              <a:gd name="connsiteX3" fmla="*/ 2943 w 21540282"/>
              <a:gd name="connsiteY3" fmla="*/ 192321 h 192321"/>
              <a:gd name="connsiteX4" fmla="*/ 0 w 21540282"/>
              <a:gd name="connsiteY4" fmla="*/ 3156 h 192321"/>
              <a:gd name="connsiteX0" fmla="*/ 0 w 21540282"/>
              <a:gd name="connsiteY0" fmla="*/ 347 h 192321"/>
              <a:gd name="connsiteX1" fmla="*/ 21540282 w 21540282"/>
              <a:gd name="connsiteY1" fmla="*/ 0 h 192321"/>
              <a:gd name="connsiteX2" fmla="*/ 19731425 w 21540282"/>
              <a:gd name="connsiteY2" fmla="*/ 189389 h 192321"/>
              <a:gd name="connsiteX3" fmla="*/ 2943 w 21540282"/>
              <a:gd name="connsiteY3" fmla="*/ 192321 h 192321"/>
              <a:gd name="connsiteX4" fmla="*/ 0 w 21540282"/>
              <a:gd name="connsiteY4" fmla="*/ 347 h 192321"/>
              <a:gd name="connsiteX0" fmla="*/ 0 w 21540282"/>
              <a:gd name="connsiteY0" fmla="*/ 347 h 192321"/>
              <a:gd name="connsiteX1" fmla="*/ 21540282 w 21540282"/>
              <a:gd name="connsiteY1" fmla="*/ 0 h 192321"/>
              <a:gd name="connsiteX2" fmla="*/ 19731425 w 21540282"/>
              <a:gd name="connsiteY2" fmla="*/ 189389 h 192321"/>
              <a:gd name="connsiteX3" fmla="*/ 2942 w 21540282"/>
              <a:gd name="connsiteY3" fmla="*/ 192321 h 192321"/>
              <a:gd name="connsiteX4" fmla="*/ 0 w 21540282"/>
              <a:gd name="connsiteY4" fmla="*/ 347 h 192321"/>
              <a:gd name="connsiteX0" fmla="*/ 0 w 21540282"/>
              <a:gd name="connsiteY0" fmla="*/ 347 h 189512"/>
              <a:gd name="connsiteX1" fmla="*/ 21540282 w 21540282"/>
              <a:gd name="connsiteY1" fmla="*/ 0 h 189512"/>
              <a:gd name="connsiteX2" fmla="*/ 19731425 w 21540282"/>
              <a:gd name="connsiteY2" fmla="*/ 189389 h 189512"/>
              <a:gd name="connsiteX3" fmla="*/ 2942 w 21540282"/>
              <a:gd name="connsiteY3" fmla="*/ 189512 h 189512"/>
              <a:gd name="connsiteX4" fmla="*/ 0 w 21540282"/>
              <a:gd name="connsiteY4" fmla="*/ 347 h 189512"/>
              <a:gd name="connsiteX0" fmla="*/ 0 w 20903501"/>
              <a:gd name="connsiteY0" fmla="*/ 347 h 189512"/>
              <a:gd name="connsiteX1" fmla="*/ 20903501 w 20903501"/>
              <a:gd name="connsiteY1" fmla="*/ 0 h 189512"/>
              <a:gd name="connsiteX2" fmla="*/ 19731425 w 20903501"/>
              <a:gd name="connsiteY2" fmla="*/ 189389 h 189512"/>
              <a:gd name="connsiteX3" fmla="*/ 2942 w 20903501"/>
              <a:gd name="connsiteY3" fmla="*/ 189512 h 189512"/>
              <a:gd name="connsiteX4" fmla="*/ 0 w 20903501"/>
              <a:gd name="connsiteY4" fmla="*/ 347 h 18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3501" h="189512">
                <a:moveTo>
                  <a:pt x="0" y="347"/>
                </a:moveTo>
                <a:lnTo>
                  <a:pt x="20903501" y="0"/>
                </a:lnTo>
                <a:lnTo>
                  <a:pt x="19731425" y="189389"/>
                </a:lnTo>
                <a:lnTo>
                  <a:pt x="2942" y="189512"/>
                </a:lnTo>
                <a:cubicBezTo>
                  <a:pt x="1961" y="125521"/>
                  <a:pt x="981" y="64338"/>
                  <a:pt x="0" y="347"/>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C355EA5B-0213-49CD-B934-926AAD46209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71200" y="5851211"/>
            <a:ext cx="1060449" cy="822309"/>
          </a:xfrm>
          <a:prstGeom prst="rect">
            <a:avLst/>
          </a:prstGeom>
        </p:spPr>
      </p:pic>
    </p:spTree>
    <p:extLst>
      <p:ext uri="{BB962C8B-B14F-4D97-AF65-F5344CB8AC3E}">
        <p14:creationId xmlns:p14="http://schemas.microsoft.com/office/powerpoint/2010/main" val="35439102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8664" y="2947138"/>
            <a:ext cx="8455769" cy="984333"/>
          </a:xfrm>
        </p:spPr>
        <p:txBody>
          <a:bodyPr anchor="b">
            <a:normAutofit/>
          </a:bodyPr>
          <a:lstStyle>
            <a:lvl1pPr>
              <a:defRPr>
                <a:solidFill>
                  <a:schemeClr val="tx1"/>
                </a:solidFill>
              </a:defRPr>
            </a:lvl1pPr>
          </a:lstStyle>
          <a:p>
            <a:r>
              <a:rPr lang="en-US"/>
              <a:t>Click to edit Master title style</a:t>
            </a:r>
          </a:p>
        </p:txBody>
      </p:sp>
      <p:sp>
        <p:nvSpPr>
          <p:cNvPr id="3" name="Subtitle 2"/>
          <p:cNvSpPr>
            <a:spLocks noGrp="1"/>
          </p:cNvSpPr>
          <p:nvPr>
            <p:ph type="subTitle" idx="1"/>
          </p:nvPr>
        </p:nvSpPr>
        <p:spPr>
          <a:xfrm>
            <a:off x="328664" y="3999209"/>
            <a:ext cx="8455769" cy="640767"/>
          </a:xfrm>
        </p:spPr>
        <p:txBody>
          <a:bodyPr>
            <a:normAutofit/>
          </a:bodyPr>
          <a:lstStyle>
            <a:lvl1pPr marL="0" indent="0" algn="l">
              <a:buNone/>
              <a:defRPr sz="1999">
                <a:solidFill>
                  <a:schemeClr val="tx1"/>
                </a:solidFill>
              </a:defRPr>
            </a:lvl1pPr>
            <a:lvl2pPr marL="457070" indent="0" algn="ctr">
              <a:buNone/>
              <a:defRPr>
                <a:solidFill>
                  <a:schemeClr val="tx1">
                    <a:tint val="75000"/>
                  </a:schemeClr>
                </a:solidFill>
              </a:defRPr>
            </a:lvl2pPr>
            <a:lvl3pPr marL="914141" indent="0" algn="ctr">
              <a:buNone/>
              <a:defRPr>
                <a:solidFill>
                  <a:schemeClr val="tx1">
                    <a:tint val="75000"/>
                  </a:schemeClr>
                </a:solidFill>
              </a:defRPr>
            </a:lvl3pPr>
            <a:lvl4pPr marL="1371211" indent="0" algn="ctr">
              <a:buNone/>
              <a:defRPr>
                <a:solidFill>
                  <a:schemeClr val="tx1">
                    <a:tint val="75000"/>
                  </a:schemeClr>
                </a:solidFill>
              </a:defRPr>
            </a:lvl4pPr>
            <a:lvl5pPr marL="1828282" indent="0" algn="ctr">
              <a:buNone/>
              <a:defRPr>
                <a:solidFill>
                  <a:schemeClr val="tx1">
                    <a:tint val="75000"/>
                  </a:schemeClr>
                </a:solidFill>
              </a:defRPr>
            </a:lvl5pPr>
            <a:lvl6pPr marL="2285352" indent="0" algn="ctr">
              <a:buNone/>
              <a:defRPr>
                <a:solidFill>
                  <a:schemeClr val="tx1">
                    <a:tint val="75000"/>
                  </a:schemeClr>
                </a:solidFill>
              </a:defRPr>
            </a:lvl6pPr>
            <a:lvl7pPr marL="2742423" indent="0" algn="ctr">
              <a:buNone/>
              <a:defRPr>
                <a:solidFill>
                  <a:schemeClr val="tx1">
                    <a:tint val="75000"/>
                  </a:schemeClr>
                </a:solidFill>
              </a:defRPr>
            </a:lvl7pPr>
            <a:lvl8pPr marL="3199493" indent="0" algn="ctr">
              <a:buNone/>
              <a:defRPr>
                <a:solidFill>
                  <a:schemeClr val="tx1">
                    <a:tint val="75000"/>
                  </a:schemeClr>
                </a:solidFill>
              </a:defRPr>
            </a:lvl8pPr>
            <a:lvl9pPr marL="365656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328661" y="4779113"/>
            <a:ext cx="3303003" cy="365125"/>
          </a:xfrm>
          <a:prstGeom prst="rect">
            <a:avLst/>
          </a:prstGeom>
        </p:spPr>
        <p:txBody>
          <a:bodyPr lIns="0" tIns="0" rIns="0" bIns="0">
            <a:normAutofit/>
          </a:bodyPr>
          <a:lstStyle>
            <a:lvl1pPr>
              <a:defRPr sz="1000">
                <a:solidFill>
                  <a:schemeClr val="tx1"/>
                </a:solidFill>
                <a:latin typeface="+mn-lt"/>
                <a:cs typeface="Arial"/>
              </a:defRPr>
            </a:lvl1pPr>
          </a:lstStyle>
          <a:p>
            <a:endParaRPr lang="en-US"/>
          </a:p>
        </p:txBody>
      </p:sp>
      <p:sp>
        <p:nvSpPr>
          <p:cNvPr id="12" name="Rectangle 11">
            <a:extLst>
              <a:ext uri="{FF2B5EF4-FFF2-40B4-BE49-F238E27FC236}">
                <a16:creationId xmlns:a16="http://schemas.microsoft.com/office/drawing/2014/main" id="{0737FA42-C06C-4BE0-AE35-B6EF2728CBF5}"/>
              </a:ext>
            </a:extLst>
          </p:cNvPr>
          <p:cNvSpPr/>
          <p:nvPr userDrawn="1"/>
        </p:nvSpPr>
        <p:spPr>
          <a:xfrm>
            <a:off x="8483630" y="967"/>
            <a:ext cx="3705198" cy="48212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p>
        </p:txBody>
      </p:sp>
      <p:sp>
        <p:nvSpPr>
          <p:cNvPr id="13" name="Rectangle 3">
            <a:extLst>
              <a:ext uri="{FF2B5EF4-FFF2-40B4-BE49-F238E27FC236}">
                <a16:creationId xmlns:a16="http://schemas.microsoft.com/office/drawing/2014/main" id="{9FCFEBA5-E832-4F45-9A7E-E488F4C2670A}"/>
              </a:ext>
            </a:extLst>
          </p:cNvPr>
          <p:cNvSpPr/>
          <p:nvPr userDrawn="1"/>
        </p:nvSpPr>
        <p:spPr>
          <a:xfrm>
            <a:off x="5" y="316"/>
            <a:ext cx="9074877" cy="482776"/>
          </a:xfrm>
          <a:custGeom>
            <a:avLst/>
            <a:gdLst>
              <a:gd name="connsiteX0" fmla="*/ 0 w 6709251"/>
              <a:gd name="connsiteY0" fmla="*/ 0 h 182880"/>
              <a:gd name="connsiteX1" fmla="*/ 6709251 w 6709251"/>
              <a:gd name="connsiteY1" fmla="*/ 0 h 182880"/>
              <a:gd name="connsiteX2" fmla="*/ 6709251 w 6709251"/>
              <a:gd name="connsiteY2" fmla="*/ 182880 h 182880"/>
              <a:gd name="connsiteX3" fmla="*/ 0 w 6709251"/>
              <a:gd name="connsiteY3" fmla="*/ 182880 h 182880"/>
              <a:gd name="connsiteX4" fmla="*/ 0 w 6709251"/>
              <a:gd name="connsiteY4" fmla="*/ 0 h 182880"/>
              <a:gd name="connsiteX0" fmla="*/ 0 w 7073510"/>
              <a:gd name="connsiteY0" fmla="*/ 0 h 182880"/>
              <a:gd name="connsiteX1" fmla="*/ 7073510 w 7073510"/>
              <a:gd name="connsiteY1" fmla="*/ 0 h 182880"/>
              <a:gd name="connsiteX2" fmla="*/ 6709251 w 7073510"/>
              <a:gd name="connsiteY2" fmla="*/ 182880 h 182880"/>
              <a:gd name="connsiteX3" fmla="*/ 0 w 7073510"/>
              <a:gd name="connsiteY3" fmla="*/ 182880 h 182880"/>
              <a:gd name="connsiteX4" fmla="*/ 0 w 7073510"/>
              <a:gd name="connsiteY4" fmla="*/ 0 h 182880"/>
              <a:gd name="connsiteX0" fmla="*/ 0 w 8678702"/>
              <a:gd name="connsiteY0" fmla="*/ 0 h 182880"/>
              <a:gd name="connsiteX1" fmla="*/ 8678702 w 8678702"/>
              <a:gd name="connsiteY1" fmla="*/ 0 h 182880"/>
              <a:gd name="connsiteX2" fmla="*/ 8314443 w 8678702"/>
              <a:gd name="connsiteY2" fmla="*/ 182880 h 182880"/>
              <a:gd name="connsiteX3" fmla="*/ 1605192 w 8678702"/>
              <a:gd name="connsiteY3" fmla="*/ 182880 h 182880"/>
              <a:gd name="connsiteX4" fmla="*/ 0 w 8678702"/>
              <a:gd name="connsiteY4" fmla="*/ 0 h 182880"/>
              <a:gd name="connsiteX0" fmla="*/ 0 w 8678702"/>
              <a:gd name="connsiteY0" fmla="*/ 0 h 186220"/>
              <a:gd name="connsiteX1" fmla="*/ 8678702 w 8678702"/>
              <a:gd name="connsiteY1" fmla="*/ 0 h 186220"/>
              <a:gd name="connsiteX2" fmla="*/ 8314443 w 8678702"/>
              <a:gd name="connsiteY2" fmla="*/ 182880 h 186220"/>
              <a:gd name="connsiteX3" fmla="*/ 6661 w 8678702"/>
              <a:gd name="connsiteY3" fmla="*/ 186220 h 186220"/>
              <a:gd name="connsiteX4" fmla="*/ 0 w 8678702"/>
              <a:gd name="connsiteY4" fmla="*/ 0 h 186220"/>
              <a:gd name="connsiteX0" fmla="*/ 133211 w 8672041"/>
              <a:gd name="connsiteY0" fmla="*/ 50097 h 186220"/>
              <a:gd name="connsiteX1" fmla="*/ 8672041 w 8672041"/>
              <a:gd name="connsiteY1" fmla="*/ 0 h 186220"/>
              <a:gd name="connsiteX2" fmla="*/ 8307782 w 8672041"/>
              <a:gd name="connsiteY2" fmla="*/ 182880 h 186220"/>
              <a:gd name="connsiteX3" fmla="*/ 0 w 8672041"/>
              <a:gd name="connsiteY3" fmla="*/ 186220 h 186220"/>
              <a:gd name="connsiteX4" fmla="*/ 133211 w 8672041"/>
              <a:gd name="connsiteY4" fmla="*/ 50097 h 186220"/>
              <a:gd name="connsiteX0" fmla="*/ 3330 w 8672041"/>
              <a:gd name="connsiteY0" fmla="*/ 3340 h 186220"/>
              <a:gd name="connsiteX1" fmla="*/ 8672041 w 8672041"/>
              <a:gd name="connsiteY1" fmla="*/ 0 h 186220"/>
              <a:gd name="connsiteX2" fmla="*/ 8307782 w 8672041"/>
              <a:gd name="connsiteY2" fmla="*/ 182880 h 186220"/>
              <a:gd name="connsiteX3" fmla="*/ 0 w 8672041"/>
              <a:gd name="connsiteY3" fmla="*/ 186220 h 186220"/>
              <a:gd name="connsiteX4" fmla="*/ 3330 w 8672041"/>
              <a:gd name="connsiteY4" fmla="*/ 3340 h 186220"/>
              <a:gd name="connsiteX0" fmla="*/ 3330 w 8672041"/>
              <a:gd name="connsiteY0" fmla="*/ 3340 h 186220"/>
              <a:gd name="connsiteX1" fmla="*/ 8672041 w 8672041"/>
              <a:gd name="connsiteY1" fmla="*/ 0 h 186220"/>
              <a:gd name="connsiteX2" fmla="*/ 8307782 w 8672041"/>
              <a:gd name="connsiteY2" fmla="*/ 182880 h 186220"/>
              <a:gd name="connsiteX3" fmla="*/ 0 w 8672041"/>
              <a:gd name="connsiteY3" fmla="*/ 186220 h 186220"/>
              <a:gd name="connsiteX4" fmla="*/ 3330 w 8672041"/>
              <a:gd name="connsiteY4" fmla="*/ 3340 h 186220"/>
              <a:gd name="connsiteX0" fmla="*/ 0 w 8674979"/>
              <a:gd name="connsiteY0" fmla="*/ 3340 h 186220"/>
              <a:gd name="connsiteX1" fmla="*/ 8674979 w 8674979"/>
              <a:gd name="connsiteY1" fmla="*/ 0 h 186220"/>
              <a:gd name="connsiteX2" fmla="*/ 8310720 w 8674979"/>
              <a:gd name="connsiteY2" fmla="*/ 182880 h 186220"/>
              <a:gd name="connsiteX3" fmla="*/ 2938 w 8674979"/>
              <a:gd name="connsiteY3" fmla="*/ 186220 h 186220"/>
              <a:gd name="connsiteX4" fmla="*/ 0 w 8674979"/>
              <a:gd name="connsiteY4" fmla="*/ 3340 h 186220"/>
              <a:gd name="connsiteX0" fmla="*/ 0 w 8674979"/>
              <a:gd name="connsiteY0" fmla="*/ 0 h 189166"/>
              <a:gd name="connsiteX1" fmla="*/ 8674979 w 8674979"/>
              <a:gd name="connsiteY1" fmla="*/ 2946 h 189166"/>
              <a:gd name="connsiteX2" fmla="*/ 8310720 w 8674979"/>
              <a:gd name="connsiteY2" fmla="*/ 185826 h 189166"/>
              <a:gd name="connsiteX3" fmla="*/ 2938 w 8674979"/>
              <a:gd name="connsiteY3" fmla="*/ 189166 h 189166"/>
              <a:gd name="connsiteX4" fmla="*/ 0 w 8674979"/>
              <a:gd name="connsiteY4" fmla="*/ 0 h 189166"/>
              <a:gd name="connsiteX0" fmla="*/ 0 w 8674979"/>
              <a:gd name="connsiteY0" fmla="*/ 444 h 189610"/>
              <a:gd name="connsiteX1" fmla="*/ 8674979 w 8674979"/>
              <a:gd name="connsiteY1" fmla="*/ 0 h 189610"/>
              <a:gd name="connsiteX2" fmla="*/ 8310720 w 8674979"/>
              <a:gd name="connsiteY2" fmla="*/ 186270 h 189610"/>
              <a:gd name="connsiteX3" fmla="*/ 2938 w 8674979"/>
              <a:gd name="connsiteY3" fmla="*/ 189610 h 189610"/>
              <a:gd name="connsiteX4" fmla="*/ 0 w 8674979"/>
              <a:gd name="connsiteY4" fmla="*/ 444 h 189610"/>
              <a:gd name="connsiteX0" fmla="*/ 0 w 8674979"/>
              <a:gd name="connsiteY0" fmla="*/ 444 h 189660"/>
              <a:gd name="connsiteX1" fmla="*/ 8674979 w 8674979"/>
              <a:gd name="connsiteY1" fmla="*/ 0 h 189660"/>
              <a:gd name="connsiteX2" fmla="*/ 8310720 w 8674979"/>
              <a:gd name="connsiteY2" fmla="*/ 189660 h 189660"/>
              <a:gd name="connsiteX3" fmla="*/ 2938 w 8674979"/>
              <a:gd name="connsiteY3" fmla="*/ 189610 h 189660"/>
              <a:gd name="connsiteX4" fmla="*/ 0 w 8674979"/>
              <a:gd name="connsiteY4" fmla="*/ 444 h 189660"/>
              <a:gd name="connsiteX0" fmla="*/ 0 w 10119577"/>
              <a:gd name="connsiteY0" fmla="*/ 0 h 189216"/>
              <a:gd name="connsiteX1" fmla="*/ 10119577 w 10119577"/>
              <a:gd name="connsiteY1" fmla="*/ 686 h 189216"/>
              <a:gd name="connsiteX2" fmla="*/ 8310720 w 10119577"/>
              <a:gd name="connsiteY2" fmla="*/ 189216 h 189216"/>
              <a:gd name="connsiteX3" fmla="*/ 2938 w 10119577"/>
              <a:gd name="connsiteY3" fmla="*/ 189166 h 189216"/>
              <a:gd name="connsiteX4" fmla="*/ 0 w 10119577"/>
              <a:gd name="connsiteY4" fmla="*/ 0 h 189216"/>
              <a:gd name="connsiteX0" fmla="*/ 0 w 10119577"/>
              <a:gd name="connsiteY0" fmla="*/ 173 h 189389"/>
              <a:gd name="connsiteX1" fmla="*/ 10119577 w 10119577"/>
              <a:gd name="connsiteY1" fmla="*/ 0 h 189389"/>
              <a:gd name="connsiteX2" fmla="*/ 8310720 w 10119577"/>
              <a:gd name="connsiteY2" fmla="*/ 189389 h 189389"/>
              <a:gd name="connsiteX3" fmla="*/ 2938 w 10119577"/>
              <a:gd name="connsiteY3" fmla="*/ 189339 h 189389"/>
              <a:gd name="connsiteX4" fmla="*/ 0 w 10119577"/>
              <a:gd name="connsiteY4" fmla="*/ 173 h 189389"/>
              <a:gd name="connsiteX0" fmla="*/ 10004 w 10129581"/>
              <a:gd name="connsiteY0" fmla="*/ 173 h 189389"/>
              <a:gd name="connsiteX1" fmla="*/ 10129581 w 10129581"/>
              <a:gd name="connsiteY1" fmla="*/ 0 h 189389"/>
              <a:gd name="connsiteX2" fmla="*/ 8320724 w 10129581"/>
              <a:gd name="connsiteY2" fmla="*/ 189389 h 189389"/>
              <a:gd name="connsiteX3" fmla="*/ 57 w 10129581"/>
              <a:gd name="connsiteY3" fmla="*/ 189339 h 189389"/>
              <a:gd name="connsiteX4" fmla="*/ 10004 w 10129581"/>
              <a:gd name="connsiteY4" fmla="*/ 173 h 189389"/>
              <a:gd name="connsiteX0" fmla="*/ 9947 w 10129524"/>
              <a:gd name="connsiteY0" fmla="*/ 173 h 189389"/>
              <a:gd name="connsiteX1" fmla="*/ 10129524 w 10129524"/>
              <a:gd name="connsiteY1" fmla="*/ 0 h 189389"/>
              <a:gd name="connsiteX2" fmla="*/ 8320667 w 10129524"/>
              <a:gd name="connsiteY2" fmla="*/ 189389 h 189389"/>
              <a:gd name="connsiteX3" fmla="*/ 0 w 10129524"/>
              <a:gd name="connsiteY3" fmla="*/ 189339 h 189389"/>
              <a:gd name="connsiteX4" fmla="*/ 9947 w 10129524"/>
              <a:gd name="connsiteY4" fmla="*/ 173 h 189389"/>
              <a:gd name="connsiteX0" fmla="*/ 9947 w 10129524"/>
              <a:gd name="connsiteY0" fmla="*/ 173 h 189389"/>
              <a:gd name="connsiteX1" fmla="*/ 10129524 w 10129524"/>
              <a:gd name="connsiteY1" fmla="*/ 0 h 189389"/>
              <a:gd name="connsiteX2" fmla="*/ 8320667 w 10129524"/>
              <a:gd name="connsiteY2" fmla="*/ 189389 h 189389"/>
              <a:gd name="connsiteX3" fmla="*/ 0 w 10129524"/>
              <a:gd name="connsiteY3" fmla="*/ 189339 h 189389"/>
              <a:gd name="connsiteX4" fmla="*/ 9947 w 10129524"/>
              <a:gd name="connsiteY4" fmla="*/ 173 h 189389"/>
              <a:gd name="connsiteX0" fmla="*/ 0 w 10119577"/>
              <a:gd name="connsiteY0" fmla="*/ 173 h 189389"/>
              <a:gd name="connsiteX1" fmla="*/ 10119577 w 10119577"/>
              <a:gd name="connsiteY1" fmla="*/ 0 h 189389"/>
              <a:gd name="connsiteX2" fmla="*/ 8310720 w 10119577"/>
              <a:gd name="connsiteY2" fmla="*/ 189389 h 189389"/>
              <a:gd name="connsiteX3" fmla="*/ 15823 w 10119577"/>
              <a:gd name="connsiteY3" fmla="*/ 189339 h 189389"/>
              <a:gd name="connsiteX4" fmla="*/ 0 w 10119577"/>
              <a:gd name="connsiteY4" fmla="*/ 173 h 189389"/>
              <a:gd name="connsiteX0" fmla="*/ 0 w 10119577"/>
              <a:gd name="connsiteY0" fmla="*/ 173 h 189389"/>
              <a:gd name="connsiteX1" fmla="*/ 10119577 w 10119577"/>
              <a:gd name="connsiteY1" fmla="*/ 0 h 189389"/>
              <a:gd name="connsiteX2" fmla="*/ 8310720 w 10119577"/>
              <a:gd name="connsiteY2" fmla="*/ 189389 h 189389"/>
              <a:gd name="connsiteX3" fmla="*/ 2938 w 10119577"/>
              <a:gd name="connsiteY3" fmla="*/ 189339 h 189389"/>
              <a:gd name="connsiteX4" fmla="*/ 0 w 10119577"/>
              <a:gd name="connsiteY4" fmla="*/ 173 h 189389"/>
              <a:gd name="connsiteX0" fmla="*/ 0 w 21540281"/>
              <a:gd name="connsiteY0" fmla="*/ 9120 h 189389"/>
              <a:gd name="connsiteX1" fmla="*/ 21540281 w 21540281"/>
              <a:gd name="connsiteY1" fmla="*/ 0 h 189389"/>
              <a:gd name="connsiteX2" fmla="*/ 19731424 w 21540281"/>
              <a:gd name="connsiteY2" fmla="*/ 189389 h 189389"/>
              <a:gd name="connsiteX3" fmla="*/ 11423642 w 21540281"/>
              <a:gd name="connsiteY3" fmla="*/ 189339 h 189389"/>
              <a:gd name="connsiteX4" fmla="*/ 0 w 21540281"/>
              <a:gd name="connsiteY4" fmla="*/ 9120 h 189389"/>
              <a:gd name="connsiteX0" fmla="*/ 0 w 21540281"/>
              <a:gd name="connsiteY0" fmla="*/ 9120 h 192321"/>
              <a:gd name="connsiteX1" fmla="*/ 21540281 w 21540281"/>
              <a:gd name="connsiteY1" fmla="*/ 0 h 192321"/>
              <a:gd name="connsiteX2" fmla="*/ 19731424 w 21540281"/>
              <a:gd name="connsiteY2" fmla="*/ 189389 h 192321"/>
              <a:gd name="connsiteX3" fmla="*/ 2942 w 21540281"/>
              <a:gd name="connsiteY3" fmla="*/ 192321 h 192321"/>
              <a:gd name="connsiteX4" fmla="*/ 0 w 21540281"/>
              <a:gd name="connsiteY4" fmla="*/ 9120 h 192321"/>
              <a:gd name="connsiteX0" fmla="*/ 0 w 21540281"/>
              <a:gd name="connsiteY0" fmla="*/ 6138 h 192321"/>
              <a:gd name="connsiteX1" fmla="*/ 21540281 w 21540281"/>
              <a:gd name="connsiteY1" fmla="*/ 0 h 192321"/>
              <a:gd name="connsiteX2" fmla="*/ 19731424 w 21540281"/>
              <a:gd name="connsiteY2" fmla="*/ 189389 h 192321"/>
              <a:gd name="connsiteX3" fmla="*/ 2942 w 21540281"/>
              <a:gd name="connsiteY3" fmla="*/ 192321 h 192321"/>
              <a:gd name="connsiteX4" fmla="*/ 0 w 21540281"/>
              <a:gd name="connsiteY4" fmla="*/ 6138 h 192321"/>
              <a:gd name="connsiteX0" fmla="*/ 2579162 w 24119443"/>
              <a:gd name="connsiteY0" fmla="*/ 6138 h 192321"/>
              <a:gd name="connsiteX1" fmla="*/ 24119443 w 24119443"/>
              <a:gd name="connsiteY1" fmla="*/ 0 h 192321"/>
              <a:gd name="connsiteX2" fmla="*/ 22310586 w 24119443"/>
              <a:gd name="connsiteY2" fmla="*/ 189389 h 192321"/>
              <a:gd name="connsiteX3" fmla="*/ 2582104 w 24119443"/>
              <a:gd name="connsiteY3" fmla="*/ 192321 h 192321"/>
              <a:gd name="connsiteX4" fmla="*/ 2579162 w 24119443"/>
              <a:gd name="connsiteY4" fmla="*/ 6138 h 192321"/>
              <a:gd name="connsiteX0" fmla="*/ 1459081 w 22999362"/>
              <a:gd name="connsiteY0" fmla="*/ 6138 h 192321"/>
              <a:gd name="connsiteX1" fmla="*/ 22999362 w 22999362"/>
              <a:gd name="connsiteY1" fmla="*/ 0 h 192321"/>
              <a:gd name="connsiteX2" fmla="*/ 21190505 w 22999362"/>
              <a:gd name="connsiteY2" fmla="*/ 189389 h 192321"/>
              <a:gd name="connsiteX3" fmla="*/ 1462023 w 22999362"/>
              <a:gd name="connsiteY3" fmla="*/ 192321 h 192321"/>
              <a:gd name="connsiteX4" fmla="*/ 1459081 w 22999362"/>
              <a:gd name="connsiteY4" fmla="*/ 6138 h 192321"/>
              <a:gd name="connsiteX0" fmla="*/ 2579108 w 24119389"/>
              <a:gd name="connsiteY0" fmla="*/ 6138 h 192321"/>
              <a:gd name="connsiteX1" fmla="*/ 24119389 w 24119389"/>
              <a:gd name="connsiteY1" fmla="*/ 0 h 192321"/>
              <a:gd name="connsiteX2" fmla="*/ 22310532 w 24119389"/>
              <a:gd name="connsiteY2" fmla="*/ 189389 h 192321"/>
              <a:gd name="connsiteX3" fmla="*/ 2582050 w 24119389"/>
              <a:gd name="connsiteY3" fmla="*/ 192321 h 192321"/>
              <a:gd name="connsiteX4" fmla="*/ 2579108 w 24119389"/>
              <a:gd name="connsiteY4" fmla="*/ 6138 h 192321"/>
              <a:gd name="connsiteX0" fmla="*/ 1594923 w 23135204"/>
              <a:gd name="connsiteY0" fmla="*/ 6138 h 192321"/>
              <a:gd name="connsiteX1" fmla="*/ 23135204 w 23135204"/>
              <a:gd name="connsiteY1" fmla="*/ 0 h 192321"/>
              <a:gd name="connsiteX2" fmla="*/ 21326347 w 23135204"/>
              <a:gd name="connsiteY2" fmla="*/ 189389 h 192321"/>
              <a:gd name="connsiteX3" fmla="*/ 1597865 w 23135204"/>
              <a:gd name="connsiteY3" fmla="*/ 192321 h 192321"/>
              <a:gd name="connsiteX4" fmla="*/ 1594923 w 23135204"/>
              <a:gd name="connsiteY4" fmla="*/ 6138 h 192321"/>
              <a:gd name="connsiteX0" fmla="*/ 1 w 21540282"/>
              <a:gd name="connsiteY0" fmla="*/ 6138 h 192321"/>
              <a:gd name="connsiteX1" fmla="*/ 21540282 w 21540282"/>
              <a:gd name="connsiteY1" fmla="*/ 0 h 192321"/>
              <a:gd name="connsiteX2" fmla="*/ 19731425 w 21540282"/>
              <a:gd name="connsiteY2" fmla="*/ 189389 h 192321"/>
              <a:gd name="connsiteX3" fmla="*/ 2943 w 21540282"/>
              <a:gd name="connsiteY3" fmla="*/ 192321 h 192321"/>
              <a:gd name="connsiteX4" fmla="*/ 1 w 21540282"/>
              <a:gd name="connsiteY4" fmla="*/ 6138 h 192321"/>
              <a:gd name="connsiteX0" fmla="*/ 0 w 21540282"/>
              <a:gd name="connsiteY0" fmla="*/ 3156 h 192321"/>
              <a:gd name="connsiteX1" fmla="*/ 21540282 w 21540282"/>
              <a:gd name="connsiteY1" fmla="*/ 0 h 192321"/>
              <a:gd name="connsiteX2" fmla="*/ 19731425 w 21540282"/>
              <a:gd name="connsiteY2" fmla="*/ 189389 h 192321"/>
              <a:gd name="connsiteX3" fmla="*/ 2943 w 21540282"/>
              <a:gd name="connsiteY3" fmla="*/ 192321 h 192321"/>
              <a:gd name="connsiteX4" fmla="*/ 0 w 21540282"/>
              <a:gd name="connsiteY4" fmla="*/ 3156 h 192321"/>
              <a:gd name="connsiteX0" fmla="*/ 0 w 21540282"/>
              <a:gd name="connsiteY0" fmla="*/ 347 h 192321"/>
              <a:gd name="connsiteX1" fmla="*/ 21540282 w 21540282"/>
              <a:gd name="connsiteY1" fmla="*/ 0 h 192321"/>
              <a:gd name="connsiteX2" fmla="*/ 19731425 w 21540282"/>
              <a:gd name="connsiteY2" fmla="*/ 189389 h 192321"/>
              <a:gd name="connsiteX3" fmla="*/ 2943 w 21540282"/>
              <a:gd name="connsiteY3" fmla="*/ 192321 h 192321"/>
              <a:gd name="connsiteX4" fmla="*/ 0 w 21540282"/>
              <a:gd name="connsiteY4" fmla="*/ 347 h 192321"/>
              <a:gd name="connsiteX0" fmla="*/ 0 w 21540282"/>
              <a:gd name="connsiteY0" fmla="*/ 347 h 192321"/>
              <a:gd name="connsiteX1" fmla="*/ 21540282 w 21540282"/>
              <a:gd name="connsiteY1" fmla="*/ 0 h 192321"/>
              <a:gd name="connsiteX2" fmla="*/ 19731425 w 21540282"/>
              <a:gd name="connsiteY2" fmla="*/ 189389 h 192321"/>
              <a:gd name="connsiteX3" fmla="*/ 2942 w 21540282"/>
              <a:gd name="connsiteY3" fmla="*/ 192321 h 192321"/>
              <a:gd name="connsiteX4" fmla="*/ 0 w 21540282"/>
              <a:gd name="connsiteY4" fmla="*/ 347 h 192321"/>
              <a:gd name="connsiteX0" fmla="*/ 0 w 21540282"/>
              <a:gd name="connsiteY0" fmla="*/ 347 h 189512"/>
              <a:gd name="connsiteX1" fmla="*/ 21540282 w 21540282"/>
              <a:gd name="connsiteY1" fmla="*/ 0 h 189512"/>
              <a:gd name="connsiteX2" fmla="*/ 19731425 w 21540282"/>
              <a:gd name="connsiteY2" fmla="*/ 189389 h 189512"/>
              <a:gd name="connsiteX3" fmla="*/ 2942 w 21540282"/>
              <a:gd name="connsiteY3" fmla="*/ 189512 h 189512"/>
              <a:gd name="connsiteX4" fmla="*/ 0 w 21540282"/>
              <a:gd name="connsiteY4" fmla="*/ 347 h 189512"/>
              <a:gd name="connsiteX0" fmla="*/ 0 w 20903501"/>
              <a:gd name="connsiteY0" fmla="*/ 347 h 189512"/>
              <a:gd name="connsiteX1" fmla="*/ 20903501 w 20903501"/>
              <a:gd name="connsiteY1" fmla="*/ 0 h 189512"/>
              <a:gd name="connsiteX2" fmla="*/ 19731425 w 20903501"/>
              <a:gd name="connsiteY2" fmla="*/ 189389 h 189512"/>
              <a:gd name="connsiteX3" fmla="*/ 2942 w 20903501"/>
              <a:gd name="connsiteY3" fmla="*/ 189512 h 189512"/>
              <a:gd name="connsiteX4" fmla="*/ 0 w 20903501"/>
              <a:gd name="connsiteY4" fmla="*/ 347 h 18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3501" h="189512">
                <a:moveTo>
                  <a:pt x="0" y="347"/>
                </a:moveTo>
                <a:lnTo>
                  <a:pt x="20903501" y="0"/>
                </a:lnTo>
                <a:lnTo>
                  <a:pt x="19731425" y="189389"/>
                </a:lnTo>
                <a:lnTo>
                  <a:pt x="2942" y="189512"/>
                </a:lnTo>
                <a:cubicBezTo>
                  <a:pt x="1961" y="125521"/>
                  <a:pt x="981" y="64338"/>
                  <a:pt x="0" y="347"/>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pic>
        <p:nvPicPr>
          <p:cNvPr id="10" name="Picture 9">
            <a:extLst>
              <a:ext uri="{FF2B5EF4-FFF2-40B4-BE49-F238E27FC236}">
                <a16:creationId xmlns:a16="http://schemas.microsoft.com/office/drawing/2014/main" id="{ED73029C-0483-4D1E-9570-E37B820BB1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28707" y="6004139"/>
            <a:ext cx="1207772" cy="702594"/>
          </a:xfrm>
          <a:prstGeom prst="rect">
            <a:avLst/>
          </a:prstGeom>
        </p:spPr>
      </p:pic>
    </p:spTree>
    <p:extLst>
      <p:ext uri="{BB962C8B-B14F-4D97-AF65-F5344CB8AC3E}">
        <p14:creationId xmlns:p14="http://schemas.microsoft.com/office/powerpoint/2010/main" val="39292510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w/ Photo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AD9D9EF-93A8-4AD0-9293-A912F1609535}"/>
              </a:ext>
            </a:extLst>
          </p:cNvPr>
          <p:cNvSpPr/>
          <p:nvPr userDrawn="1"/>
        </p:nvSpPr>
        <p:spPr>
          <a:xfrm>
            <a:off x="8483630" y="1411876"/>
            <a:ext cx="3705198" cy="48308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p>
        </p:txBody>
      </p:sp>
      <p:sp>
        <p:nvSpPr>
          <p:cNvPr id="11" name="Rectangle 3">
            <a:extLst>
              <a:ext uri="{FF2B5EF4-FFF2-40B4-BE49-F238E27FC236}">
                <a16:creationId xmlns:a16="http://schemas.microsoft.com/office/drawing/2014/main" id="{69E79D0B-0FBC-4730-8F48-331668759A21}"/>
              </a:ext>
            </a:extLst>
          </p:cNvPr>
          <p:cNvSpPr/>
          <p:nvPr userDrawn="1"/>
        </p:nvSpPr>
        <p:spPr>
          <a:xfrm>
            <a:off x="5" y="1412185"/>
            <a:ext cx="9074877" cy="482776"/>
          </a:xfrm>
          <a:custGeom>
            <a:avLst/>
            <a:gdLst>
              <a:gd name="connsiteX0" fmla="*/ 0 w 6709251"/>
              <a:gd name="connsiteY0" fmla="*/ 0 h 182880"/>
              <a:gd name="connsiteX1" fmla="*/ 6709251 w 6709251"/>
              <a:gd name="connsiteY1" fmla="*/ 0 h 182880"/>
              <a:gd name="connsiteX2" fmla="*/ 6709251 w 6709251"/>
              <a:gd name="connsiteY2" fmla="*/ 182880 h 182880"/>
              <a:gd name="connsiteX3" fmla="*/ 0 w 6709251"/>
              <a:gd name="connsiteY3" fmla="*/ 182880 h 182880"/>
              <a:gd name="connsiteX4" fmla="*/ 0 w 6709251"/>
              <a:gd name="connsiteY4" fmla="*/ 0 h 182880"/>
              <a:gd name="connsiteX0" fmla="*/ 0 w 7073510"/>
              <a:gd name="connsiteY0" fmla="*/ 0 h 182880"/>
              <a:gd name="connsiteX1" fmla="*/ 7073510 w 7073510"/>
              <a:gd name="connsiteY1" fmla="*/ 0 h 182880"/>
              <a:gd name="connsiteX2" fmla="*/ 6709251 w 7073510"/>
              <a:gd name="connsiteY2" fmla="*/ 182880 h 182880"/>
              <a:gd name="connsiteX3" fmla="*/ 0 w 7073510"/>
              <a:gd name="connsiteY3" fmla="*/ 182880 h 182880"/>
              <a:gd name="connsiteX4" fmla="*/ 0 w 7073510"/>
              <a:gd name="connsiteY4" fmla="*/ 0 h 182880"/>
              <a:gd name="connsiteX0" fmla="*/ 0 w 8678702"/>
              <a:gd name="connsiteY0" fmla="*/ 0 h 182880"/>
              <a:gd name="connsiteX1" fmla="*/ 8678702 w 8678702"/>
              <a:gd name="connsiteY1" fmla="*/ 0 h 182880"/>
              <a:gd name="connsiteX2" fmla="*/ 8314443 w 8678702"/>
              <a:gd name="connsiteY2" fmla="*/ 182880 h 182880"/>
              <a:gd name="connsiteX3" fmla="*/ 1605192 w 8678702"/>
              <a:gd name="connsiteY3" fmla="*/ 182880 h 182880"/>
              <a:gd name="connsiteX4" fmla="*/ 0 w 8678702"/>
              <a:gd name="connsiteY4" fmla="*/ 0 h 182880"/>
              <a:gd name="connsiteX0" fmla="*/ 0 w 8678702"/>
              <a:gd name="connsiteY0" fmla="*/ 0 h 186220"/>
              <a:gd name="connsiteX1" fmla="*/ 8678702 w 8678702"/>
              <a:gd name="connsiteY1" fmla="*/ 0 h 186220"/>
              <a:gd name="connsiteX2" fmla="*/ 8314443 w 8678702"/>
              <a:gd name="connsiteY2" fmla="*/ 182880 h 186220"/>
              <a:gd name="connsiteX3" fmla="*/ 6661 w 8678702"/>
              <a:gd name="connsiteY3" fmla="*/ 186220 h 186220"/>
              <a:gd name="connsiteX4" fmla="*/ 0 w 8678702"/>
              <a:gd name="connsiteY4" fmla="*/ 0 h 186220"/>
              <a:gd name="connsiteX0" fmla="*/ 133211 w 8672041"/>
              <a:gd name="connsiteY0" fmla="*/ 50097 h 186220"/>
              <a:gd name="connsiteX1" fmla="*/ 8672041 w 8672041"/>
              <a:gd name="connsiteY1" fmla="*/ 0 h 186220"/>
              <a:gd name="connsiteX2" fmla="*/ 8307782 w 8672041"/>
              <a:gd name="connsiteY2" fmla="*/ 182880 h 186220"/>
              <a:gd name="connsiteX3" fmla="*/ 0 w 8672041"/>
              <a:gd name="connsiteY3" fmla="*/ 186220 h 186220"/>
              <a:gd name="connsiteX4" fmla="*/ 133211 w 8672041"/>
              <a:gd name="connsiteY4" fmla="*/ 50097 h 186220"/>
              <a:gd name="connsiteX0" fmla="*/ 3330 w 8672041"/>
              <a:gd name="connsiteY0" fmla="*/ 3340 h 186220"/>
              <a:gd name="connsiteX1" fmla="*/ 8672041 w 8672041"/>
              <a:gd name="connsiteY1" fmla="*/ 0 h 186220"/>
              <a:gd name="connsiteX2" fmla="*/ 8307782 w 8672041"/>
              <a:gd name="connsiteY2" fmla="*/ 182880 h 186220"/>
              <a:gd name="connsiteX3" fmla="*/ 0 w 8672041"/>
              <a:gd name="connsiteY3" fmla="*/ 186220 h 186220"/>
              <a:gd name="connsiteX4" fmla="*/ 3330 w 8672041"/>
              <a:gd name="connsiteY4" fmla="*/ 3340 h 186220"/>
              <a:gd name="connsiteX0" fmla="*/ 3330 w 8672041"/>
              <a:gd name="connsiteY0" fmla="*/ 3340 h 186220"/>
              <a:gd name="connsiteX1" fmla="*/ 8672041 w 8672041"/>
              <a:gd name="connsiteY1" fmla="*/ 0 h 186220"/>
              <a:gd name="connsiteX2" fmla="*/ 8307782 w 8672041"/>
              <a:gd name="connsiteY2" fmla="*/ 182880 h 186220"/>
              <a:gd name="connsiteX3" fmla="*/ 0 w 8672041"/>
              <a:gd name="connsiteY3" fmla="*/ 186220 h 186220"/>
              <a:gd name="connsiteX4" fmla="*/ 3330 w 8672041"/>
              <a:gd name="connsiteY4" fmla="*/ 3340 h 186220"/>
              <a:gd name="connsiteX0" fmla="*/ 0 w 8674979"/>
              <a:gd name="connsiteY0" fmla="*/ 3340 h 186220"/>
              <a:gd name="connsiteX1" fmla="*/ 8674979 w 8674979"/>
              <a:gd name="connsiteY1" fmla="*/ 0 h 186220"/>
              <a:gd name="connsiteX2" fmla="*/ 8310720 w 8674979"/>
              <a:gd name="connsiteY2" fmla="*/ 182880 h 186220"/>
              <a:gd name="connsiteX3" fmla="*/ 2938 w 8674979"/>
              <a:gd name="connsiteY3" fmla="*/ 186220 h 186220"/>
              <a:gd name="connsiteX4" fmla="*/ 0 w 8674979"/>
              <a:gd name="connsiteY4" fmla="*/ 3340 h 186220"/>
              <a:gd name="connsiteX0" fmla="*/ 0 w 8674979"/>
              <a:gd name="connsiteY0" fmla="*/ 0 h 189166"/>
              <a:gd name="connsiteX1" fmla="*/ 8674979 w 8674979"/>
              <a:gd name="connsiteY1" fmla="*/ 2946 h 189166"/>
              <a:gd name="connsiteX2" fmla="*/ 8310720 w 8674979"/>
              <a:gd name="connsiteY2" fmla="*/ 185826 h 189166"/>
              <a:gd name="connsiteX3" fmla="*/ 2938 w 8674979"/>
              <a:gd name="connsiteY3" fmla="*/ 189166 h 189166"/>
              <a:gd name="connsiteX4" fmla="*/ 0 w 8674979"/>
              <a:gd name="connsiteY4" fmla="*/ 0 h 189166"/>
              <a:gd name="connsiteX0" fmla="*/ 0 w 8674979"/>
              <a:gd name="connsiteY0" fmla="*/ 444 h 189610"/>
              <a:gd name="connsiteX1" fmla="*/ 8674979 w 8674979"/>
              <a:gd name="connsiteY1" fmla="*/ 0 h 189610"/>
              <a:gd name="connsiteX2" fmla="*/ 8310720 w 8674979"/>
              <a:gd name="connsiteY2" fmla="*/ 186270 h 189610"/>
              <a:gd name="connsiteX3" fmla="*/ 2938 w 8674979"/>
              <a:gd name="connsiteY3" fmla="*/ 189610 h 189610"/>
              <a:gd name="connsiteX4" fmla="*/ 0 w 8674979"/>
              <a:gd name="connsiteY4" fmla="*/ 444 h 189610"/>
              <a:gd name="connsiteX0" fmla="*/ 0 w 8674979"/>
              <a:gd name="connsiteY0" fmla="*/ 444 h 189660"/>
              <a:gd name="connsiteX1" fmla="*/ 8674979 w 8674979"/>
              <a:gd name="connsiteY1" fmla="*/ 0 h 189660"/>
              <a:gd name="connsiteX2" fmla="*/ 8310720 w 8674979"/>
              <a:gd name="connsiteY2" fmla="*/ 189660 h 189660"/>
              <a:gd name="connsiteX3" fmla="*/ 2938 w 8674979"/>
              <a:gd name="connsiteY3" fmla="*/ 189610 h 189660"/>
              <a:gd name="connsiteX4" fmla="*/ 0 w 8674979"/>
              <a:gd name="connsiteY4" fmla="*/ 444 h 189660"/>
              <a:gd name="connsiteX0" fmla="*/ 0 w 10119577"/>
              <a:gd name="connsiteY0" fmla="*/ 0 h 189216"/>
              <a:gd name="connsiteX1" fmla="*/ 10119577 w 10119577"/>
              <a:gd name="connsiteY1" fmla="*/ 686 h 189216"/>
              <a:gd name="connsiteX2" fmla="*/ 8310720 w 10119577"/>
              <a:gd name="connsiteY2" fmla="*/ 189216 h 189216"/>
              <a:gd name="connsiteX3" fmla="*/ 2938 w 10119577"/>
              <a:gd name="connsiteY3" fmla="*/ 189166 h 189216"/>
              <a:gd name="connsiteX4" fmla="*/ 0 w 10119577"/>
              <a:gd name="connsiteY4" fmla="*/ 0 h 189216"/>
              <a:gd name="connsiteX0" fmla="*/ 0 w 10119577"/>
              <a:gd name="connsiteY0" fmla="*/ 173 h 189389"/>
              <a:gd name="connsiteX1" fmla="*/ 10119577 w 10119577"/>
              <a:gd name="connsiteY1" fmla="*/ 0 h 189389"/>
              <a:gd name="connsiteX2" fmla="*/ 8310720 w 10119577"/>
              <a:gd name="connsiteY2" fmla="*/ 189389 h 189389"/>
              <a:gd name="connsiteX3" fmla="*/ 2938 w 10119577"/>
              <a:gd name="connsiteY3" fmla="*/ 189339 h 189389"/>
              <a:gd name="connsiteX4" fmla="*/ 0 w 10119577"/>
              <a:gd name="connsiteY4" fmla="*/ 173 h 189389"/>
              <a:gd name="connsiteX0" fmla="*/ 10004 w 10129581"/>
              <a:gd name="connsiteY0" fmla="*/ 173 h 189389"/>
              <a:gd name="connsiteX1" fmla="*/ 10129581 w 10129581"/>
              <a:gd name="connsiteY1" fmla="*/ 0 h 189389"/>
              <a:gd name="connsiteX2" fmla="*/ 8320724 w 10129581"/>
              <a:gd name="connsiteY2" fmla="*/ 189389 h 189389"/>
              <a:gd name="connsiteX3" fmla="*/ 57 w 10129581"/>
              <a:gd name="connsiteY3" fmla="*/ 189339 h 189389"/>
              <a:gd name="connsiteX4" fmla="*/ 10004 w 10129581"/>
              <a:gd name="connsiteY4" fmla="*/ 173 h 189389"/>
              <a:gd name="connsiteX0" fmla="*/ 9947 w 10129524"/>
              <a:gd name="connsiteY0" fmla="*/ 173 h 189389"/>
              <a:gd name="connsiteX1" fmla="*/ 10129524 w 10129524"/>
              <a:gd name="connsiteY1" fmla="*/ 0 h 189389"/>
              <a:gd name="connsiteX2" fmla="*/ 8320667 w 10129524"/>
              <a:gd name="connsiteY2" fmla="*/ 189389 h 189389"/>
              <a:gd name="connsiteX3" fmla="*/ 0 w 10129524"/>
              <a:gd name="connsiteY3" fmla="*/ 189339 h 189389"/>
              <a:gd name="connsiteX4" fmla="*/ 9947 w 10129524"/>
              <a:gd name="connsiteY4" fmla="*/ 173 h 189389"/>
              <a:gd name="connsiteX0" fmla="*/ 9947 w 10129524"/>
              <a:gd name="connsiteY0" fmla="*/ 173 h 189389"/>
              <a:gd name="connsiteX1" fmla="*/ 10129524 w 10129524"/>
              <a:gd name="connsiteY1" fmla="*/ 0 h 189389"/>
              <a:gd name="connsiteX2" fmla="*/ 8320667 w 10129524"/>
              <a:gd name="connsiteY2" fmla="*/ 189389 h 189389"/>
              <a:gd name="connsiteX3" fmla="*/ 0 w 10129524"/>
              <a:gd name="connsiteY3" fmla="*/ 189339 h 189389"/>
              <a:gd name="connsiteX4" fmla="*/ 9947 w 10129524"/>
              <a:gd name="connsiteY4" fmla="*/ 173 h 189389"/>
              <a:gd name="connsiteX0" fmla="*/ 0 w 10119577"/>
              <a:gd name="connsiteY0" fmla="*/ 173 h 189389"/>
              <a:gd name="connsiteX1" fmla="*/ 10119577 w 10119577"/>
              <a:gd name="connsiteY1" fmla="*/ 0 h 189389"/>
              <a:gd name="connsiteX2" fmla="*/ 8310720 w 10119577"/>
              <a:gd name="connsiteY2" fmla="*/ 189389 h 189389"/>
              <a:gd name="connsiteX3" fmla="*/ 15823 w 10119577"/>
              <a:gd name="connsiteY3" fmla="*/ 189339 h 189389"/>
              <a:gd name="connsiteX4" fmla="*/ 0 w 10119577"/>
              <a:gd name="connsiteY4" fmla="*/ 173 h 189389"/>
              <a:gd name="connsiteX0" fmla="*/ 0 w 10119577"/>
              <a:gd name="connsiteY0" fmla="*/ 173 h 189389"/>
              <a:gd name="connsiteX1" fmla="*/ 10119577 w 10119577"/>
              <a:gd name="connsiteY1" fmla="*/ 0 h 189389"/>
              <a:gd name="connsiteX2" fmla="*/ 8310720 w 10119577"/>
              <a:gd name="connsiteY2" fmla="*/ 189389 h 189389"/>
              <a:gd name="connsiteX3" fmla="*/ 2938 w 10119577"/>
              <a:gd name="connsiteY3" fmla="*/ 189339 h 189389"/>
              <a:gd name="connsiteX4" fmla="*/ 0 w 10119577"/>
              <a:gd name="connsiteY4" fmla="*/ 173 h 189389"/>
              <a:gd name="connsiteX0" fmla="*/ 0 w 21540281"/>
              <a:gd name="connsiteY0" fmla="*/ 9120 h 189389"/>
              <a:gd name="connsiteX1" fmla="*/ 21540281 w 21540281"/>
              <a:gd name="connsiteY1" fmla="*/ 0 h 189389"/>
              <a:gd name="connsiteX2" fmla="*/ 19731424 w 21540281"/>
              <a:gd name="connsiteY2" fmla="*/ 189389 h 189389"/>
              <a:gd name="connsiteX3" fmla="*/ 11423642 w 21540281"/>
              <a:gd name="connsiteY3" fmla="*/ 189339 h 189389"/>
              <a:gd name="connsiteX4" fmla="*/ 0 w 21540281"/>
              <a:gd name="connsiteY4" fmla="*/ 9120 h 189389"/>
              <a:gd name="connsiteX0" fmla="*/ 0 w 21540281"/>
              <a:gd name="connsiteY0" fmla="*/ 9120 h 192321"/>
              <a:gd name="connsiteX1" fmla="*/ 21540281 w 21540281"/>
              <a:gd name="connsiteY1" fmla="*/ 0 h 192321"/>
              <a:gd name="connsiteX2" fmla="*/ 19731424 w 21540281"/>
              <a:gd name="connsiteY2" fmla="*/ 189389 h 192321"/>
              <a:gd name="connsiteX3" fmla="*/ 2942 w 21540281"/>
              <a:gd name="connsiteY3" fmla="*/ 192321 h 192321"/>
              <a:gd name="connsiteX4" fmla="*/ 0 w 21540281"/>
              <a:gd name="connsiteY4" fmla="*/ 9120 h 192321"/>
              <a:gd name="connsiteX0" fmla="*/ 0 w 21540281"/>
              <a:gd name="connsiteY0" fmla="*/ 6138 h 192321"/>
              <a:gd name="connsiteX1" fmla="*/ 21540281 w 21540281"/>
              <a:gd name="connsiteY1" fmla="*/ 0 h 192321"/>
              <a:gd name="connsiteX2" fmla="*/ 19731424 w 21540281"/>
              <a:gd name="connsiteY2" fmla="*/ 189389 h 192321"/>
              <a:gd name="connsiteX3" fmla="*/ 2942 w 21540281"/>
              <a:gd name="connsiteY3" fmla="*/ 192321 h 192321"/>
              <a:gd name="connsiteX4" fmla="*/ 0 w 21540281"/>
              <a:gd name="connsiteY4" fmla="*/ 6138 h 192321"/>
              <a:gd name="connsiteX0" fmla="*/ 2579162 w 24119443"/>
              <a:gd name="connsiteY0" fmla="*/ 6138 h 192321"/>
              <a:gd name="connsiteX1" fmla="*/ 24119443 w 24119443"/>
              <a:gd name="connsiteY1" fmla="*/ 0 h 192321"/>
              <a:gd name="connsiteX2" fmla="*/ 22310586 w 24119443"/>
              <a:gd name="connsiteY2" fmla="*/ 189389 h 192321"/>
              <a:gd name="connsiteX3" fmla="*/ 2582104 w 24119443"/>
              <a:gd name="connsiteY3" fmla="*/ 192321 h 192321"/>
              <a:gd name="connsiteX4" fmla="*/ 2579162 w 24119443"/>
              <a:gd name="connsiteY4" fmla="*/ 6138 h 192321"/>
              <a:gd name="connsiteX0" fmla="*/ 1459081 w 22999362"/>
              <a:gd name="connsiteY0" fmla="*/ 6138 h 192321"/>
              <a:gd name="connsiteX1" fmla="*/ 22999362 w 22999362"/>
              <a:gd name="connsiteY1" fmla="*/ 0 h 192321"/>
              <a:gd name="connsiteX2" fmla="*/ 21190505 w 22999362"/>
              <a:gd name="connsiteY2" fmla="*/ 189389 h 192321"/>
              <a:gd name="connsiteX3" fmla="*/ 1462023 w 22999362"/>
              <a:gd name="connsiteY3" fmla="*/ 192321 h 192321"/>
              <a:gd name="connsiteX4" fmla="*/ 1459081 w 22999362"/>
              <a:gd name="connsiteY4" fmla="*/ 6138 h 192321"/>
              <a:gd name="connsiteX0" fmla="*/ 2579108 w 24119389"/>
              <a:gd name="connsiteY0" fmla="*/ 6138 h 192321"/>
              <a:gd name="connsiteX1" fmla="*/ 24119389 w 24119389"/>
              <a:gd name="connsiteY1" fmla="*/ 0 h 192321"/>
              <a:gd name="connsiteX2" fmla="*/ 22310532 w 24119389"/>
              <a:gd name="connsiteY2" fmla="*/ 189389 h 192321"/>
              <a:gd name="connsiteX3" fmla="*/ 2582050 w 24119389"/>
              <a:gd name="connsiteY3" fmla="*/ 192321 h 192321"/>
              <a:gd name="connsiteX4" fmla="*/ 2579108 w 24119389"/>
              <a:gd name="connsiteY4" fmla="*/ 6138 h 192321"/>
              <a:gd name="connsiteX0" fmla="*/ 1594923 w 23135204"/>
              <a:gd name="connsiteY0" fmla="*/ 6138 h 192321"/>
              <a:gd name="connsiteX1" fmla="*/ 23135204 w 23135204"/>
              <a:gd name="connsiteY1" fmla="*/ 0 h 192321"/>
              <a:gd name="connsiteX2" fmla="*/ 21326347 w 23135204"/>
              <a:gd name="connsiteY2" fmla="*/ 189389 h 192321"/>
              <a:gd name="connsiteX3" fmla="*/ 1597865 w 23135204"/>
              <a:gd name="connsiteY3" fmla="*/ 192321 h 192321"/>
              <a:gd name="connsiteX4" fmla="*/ 1594923 w 23135204"/>
              <a:gd name="connsiteY4" fmla="*/ 6138 h 192321"/>
              <a:gd name="connsiteX0" fmla="*/ 1 w 21540282"/>
              <a:gd name="connsiteY0" fmla="*/ 6138 h 192321"/>
              <a:gd name="connsiteX1" fmla="*/ 21540282 w 21540282"/>
              <a:gd name="connsiteY1" fmla="*/ 0 h 192321"/>
              <a:gd name="connsiteX2" fmla="*/ 19731425 w 21540282"/>
              <a:gd name="connsiteY2" fmla="*/ 189389 h 192321"/>
              <a:gd name="connsiteX3" fmla="*/ 2943 w 21540282"/>
              <a:gd name="connsiteY3" fmla="*/ 192321 h 192321"/>
              <a:gd name="connsiteX4" fmla="*/ 1 w 21540282"/>
              <a:gd name="connsiteY4" fmla="*/ 6138 h 192321"/>
              <a:gd name="connsiteX0" fmla="*/ 0 w 21540282"/>
              <a:gd name="connsiteY0" fmla="*/ 3156 h 192321"/>
              <a:gd name="connsiteX1" fmla="*/ 21540282 w 21540282"/>
              <a:gd name="connsiteY1" fmla="*/ 0 h 192321"/>
              <a:gd name="connsiteX2" fmla="*/ 19731425 w 21540282"/>
              <a:gd name="connsiteY2" fmla="*/ 189389 h 192321"/>
              <a:gd name="connsiteX3" fmla="*/ 2943 w 21540282"/>
              <a:gd name="connsiteY3" fmla="*/ 192321 h 192321"/>
              <a:gd name="connsiteX4" fmla="*/ 0 w 21540282"/>
              <a:gd name="connsiteY4" fmla="*/ 3156 h 192321"/>
              <a:gd name="connsiteX0" fmla="*/ 0 w 21540282"/>
              <a:gd name="connsiteY0" fmla="*/ 347 h 192321"/>
              <a:gd name="connsiteX1" fmla="*/ 21540282 w 21540282"/>
              <a:gd name="connsiteY1" fmla="*/ 0 h 192321"/>
              <a:gd name="connsiteX2" fmla="*/ 19731425 w 21540282"/>
              <a:gd name="connsiteY2" fmla="*/ 189389 h 192321"/>
              <a:gd name="connsiteX3" fmla="*/ 2943 w 21540282"/>
              <a:gd name="connsiteY3" fmla="*/ 192321 h 192321"/>
              <a:gd name="connsiteX4" fmla="*/ 0 w 21540282"/>
              <a:gd name="connsiteY4" fmla="*/ 347 h 192321"/>
              <a:gd name="connsiteX0" fmla="*/ 0 w 21540282"/>
              <a:gd name="connsiteY0" fmla="*/ 347 h 192321"/>
              <a:gd name="connsiteX1" fmla="*/ 21540282 w 21540282"/>
              <a:gd name="connsiteY1" fmla="*/ 0 h 192321"/>
              <a:gd name="connsiteX2" fmla="*/ 19731425 w 21540282"/>
              <a:gd name="connsiteY2" fmla="*/ 189389 h 192321"/>
              <a:gd name="connsiteX3" fmla="*/ 2942 w 21540282"/>
              <a:gd name="connsiteY3" fmla="*/ 192321 h 192321"/>
              <a:gd name="connsiteX4" fmla="*/ 0 w 21540282"/>
              <a:gd name="connsiteY4" fmla="*/ 347 h 192321"/>
              <a:gd name="connsiteX0" fmla="*/ 0 w 21540282"/>
              <a:gd name="connsiteY0" fmla="*/ 347 h 189512"/>
              <a:gd name="connsiteX1" fmla="*/ 21540282 w 21540282"/>
              <a:gd name="connsiteY1" fmla="*/ 0 h 189512"/>
              <a:gd name="connsiteX2" fmla="*/ 19731425 w 21540282"/>
              <a:gd name="connsiteY2" fmla="*/ 189389 h 189512"/>
              <a:gd name="connsiteX3" fmla="*/ 2942 w 21540282"/>
              <a:gd name="connsiteY3" fmla="*/ 189512 h 189512"/>
              <a:gd name="connsiteX4" fmla="*/ 0 w 21540282"/>
              <a:gd name="connsiteY4" fmla="*/ 347 h 189512"/>
              <a:gd name="connsiteX0" fmla="*/ 0 w 20903501"/>
              <a:gd name="connsiteY0" fmla="*/ 347 h 189512"/>
              <a:gd name="connsiteX1" fmla="*/ 20903501 w 20903501"/>
              <a:gd name="connsiteY1" fmla="*/ 0 h 189512"/>
              <a:gd name="connsiteX2" fmla="*/ 19731425 w 20903501"/>
              <a:gd name="connsiteY2" fmla="*/ 189389 h 189512"/>
              <a:gd name="connsiteX3" fmla="*/ 2942 w 20903501"/>
              <a:gd name="connsiteY3" fmla="*/ 189512 h 189512"/>
              <a:gd name="connsiteX4" fmla="*/ 0 w 20903501"/>
              <a:gd name="connsiteY4" fmla="*/ 347 h 18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3501" h="189512">
                <a:moveTo>
                  <a:pt x="0" y="347"/>
                </a:moveTo>
                <a:lnTo>
                  <a:pt x="20903501" y="0"/>
                </a:lnTo>
                <a:lnTo>
                  <a:pt x="19731425" y="189389"/>
                </a:lnTo>
                <a:lnTo>
                  <a:pt x="2942" y="189512"/>
                </a:lnTo>
                <a:cubicBezTo>
                  <a:pt x="1961" y="125521"/>
                  <a:pt x="981" y="64338"/>
                  <a:pt x="0" y="347"/>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2" name="Title 1"/>
          <p:cNvSpPr>
            <a:spLocks noGrp="1"/>
          </p:cNvSpPr>
          <p:nvPr>
            <p:ph type="ctrTitle"/>
          </p:nvPr>
        </p:nvSpPr>
        <p:spPr>
          <a:xfrm>
            <a:off x="328664" y="3748414"/>
            <a:ext cx="8455769" cy="984333"/>
          </a:xfrm>
        </p:spPr>
        <p:txBody>
          <a:bodyPr anchor="b">
            <a:normAutofit/>
          </a:bodyPr>
          <a:lstStyle>
            <a:lvl1pPr>
              <a:defRPr>
                <a:solidFill>
                  <a:schemeClr val="tx1"/>
                </a:solidFill>
              </a:defRPr>
            </a:lvl1pPr>
          </a:lstStyle>
          <a:p>
            <a:r>
              <a:rPr lang="en-US"/>
              <a:t>Click to edit Master title style</a:t>
            </a:r>
          </a:p>
        </p:txBody>
      </p:sp>
      <p:sp>
        <p:nvSpPr>
          <p:cNvPr id="3" name="Subtitle 2"/>
          <p:cNvSpPr>
            <a:spLocks noGrp="1"/>
          </p:cNvSpPr>
          <p:nvPr>
            <p:ph type="subTitle" idx="1"/>
          </p:nvPr>
        </p:nvSpPr>
        <p:spPr>
          <a:xfrm>
            <a:off x="328664" y="4800482"/>
            <a:ext cx="8455769" cy="640767"/>
          </a:xfrm>
        </p:spPr>
        <p:txBody>
          <a:bodyPr>
            <a:normAutofit/>
          </a:bodyPr>
          <a:lstStyle>
            <a:lvl1pPr marL="0" indent="0" algn="l">
              <a:buNone/>
              <a:defRPr sz="1999">
                <a:solidFill>
                  <a:schemeClr val="tx1"/>
                </a:solidFill>
              </a:defRPr>
            </a:lvl1pPr>
            <a:lvl2pPr marL="457070" indent="0" algn="ctr">
              <a:buNone/>
              <a:defRPr>
                <a:solidFill>
                  <a:schemeClr val="tx1">
                    <a:tint val="75000"/>
                  </a:schemeClr>
                </a:solidFill>
              </a:defRPr>
            </a:lvl2pPr>
            <a:lvl3pPr marL="914141" indent="0" algn="ctr">
              <a:buNone/>
              <a:defRPr>
                <a:solidFill>
                  <a:schemeClr val="tx1">
                    <a:tint val="75000"/>
                  </a:schemeClr>
                </a:solidFill>
              </a:defRPr>
            </a:lvl3pPr>
            <a:lvl4pPr marL="1371211" indent="0" algn="ctr">
              <a:buNone/>
              <a:defRPr>
                <a:solidFill>
                  <a:schemeClr val="tx1">
                    <a:tint val="75000"/>
                  </a:schemeClr>
                </a:solidFill>
              </a:defRPr>
            </a:lvl4pPr>
            <a:lvl5pPr marL="1828282" indent="0" algn="ctr">
              <a:buNone/>
              <a:defRPr>
                <a:solidFill>
                  <a:schemeClr val="tx1">
                    <a:tint val="75000"/>
                  </a:schemeClr>
                </a:solidFill>
              </a:defRPr>
            </a:lvl5pPr>
            <a:lvl6pPr marL="2285352" indent="0" algn="ctr">
              <a:buNone/>
              <a:defRPr>
                <a:solidFill>
                  <a:schemeClr val="tx1">
                    <a:tint val="75000"/>
                  </a:schemeClr>
                </a:solidFill>
              </a:defRPr>
            </a:lvl6pPr>
            <a:lvl7pPr marL="2742423" indent="0" algn="ctr">
              <a:buNone/>
              <a:defRPr>
                <a:solidFill>
                  <a:schemeClr val="tx1">
                    <a:tint val="75000"/>
                  </a:schemeClr>
                </a:solidFill>
              </a:defRPr>
            </a:lvl7pPr>
            <a:lvl8pPr marL="3199493" indent="0" algn="ctr">
              <a:buNone/>
              <a:defRPr>
                <a:solidFill>
                  <a:schemeClr val="tx1">
                    <a:tint val="75000"/>
                  </a:schemeClr>
                </a:solidFill>
              </a:defRPr>
            </a:lvl8pPr>
            <a:lvl9pPr marL="3656564" indent="0" algn="ctr">
              <a:buNone/>
              <a:defRPr>
                <a:solidFill>
                  <a:schemeClr val="tx1">
                    <a:tint val="75000"/>
                  </a:schemeClr>
                </a:solidFill>
              </a:defRPr>
            </a:lvl9pPr>
          </a:lstStyle>
          <a:p>
            <a:r>
              <a:rPr lang="en-US"/>
              <a:t>Click to edit Master subtitle style</a:t>
            </a:r>
          </a:p>
        </p:txBody>
      </p:sp>
      <p:sp>
        <p:nvSpPr>
          <p:cNvPr id="16" name="Picture Placeholder 15">
            <a:extLst>
              <a:ext uri="{FF2B5EF4-FFF2-40B4-BE49-F238E27FC236}">
                <a16:creationId xmlns:a16="http://schemas.microsoft.com/office/drawing/2014/main" id="{B1B375D4-5229-42D1-ACCC-C091DAB25EBF}"/>
              </a:ext>
            </a:extLst>
          </p:cNvPr>
          <p:cNvSpPr>
            <a:spLocks noGrp="1"/>
          </p:cNvSpPr>
          <p:nvPr>
            <p:ph type="pic" sz="quarter" idx="11" hasCustomPrompt="1"/>
          </p:nvPr>
        </p:nvSpPr>
        <p:spPr>
          <a:xfrm>
            <a:off x="-11115" y="1927755"/>
            <a:ext cx="3017521" cy="1706562"/>
          </a:xfrm>
          <a:solidFill>
            <a:schemeClr val="bg1">
              <a:lumMod val="85000"/>
            </a:schemeClr>
          </a:solidFill>
        </p:spPr>
        <p:txBody>
          <a:bodyPr anchor="ctr">
            <a:normAutofit/>
          </a:bodyPr>
          <a:lstStyle>
            <a:lvl1pPr marL="0" indent="0" algn="ctr">
              <a:buNone/>
              <a:defRPr sz="1200" b="0">
                <a:solidFill>
                  <a:schemeClr val="tx1">
                    <a:lumMod val="50000"/>
                    <a:lumOff val="50000"/>
                  </a:schemeClr>
                </a:solidFill>
              </a:defRPr>
            </a:lvl1pPr>
          </a:lstStyle>
          <a:p>
            <a:r>
              <a:rPr lang="en-US"/>
              <a:t>Insert photo here</a:t>
            </a:r>
          </a:p>
        </p:txBody>
      </p:sp>
      <p:sp>
        <p:nvSpPr>
          <p:cNvPr id="17" name="Picture Placeholder 15">
            <a:extLst>
              <a:ext uri="{FF2B5EF4-FFF2-40B4-BE49-F238E27FC236}">
                <a16:creationId xmlns:a16="http://schemas.microsoft.com/office/drawing/2014/main" id="{9AA1076D-6C42-4BB3-BA4D-45B182AC9A43}"/>
              </a:ext>
            </a:extLst>
          </p:cNvPr>
          <p:cNvSpPr>
            <a:spLocks noGrp="1"/>
          </p:cNvSpPr>
          <p:nvPr>
            <p:ph type="pic" sz="quarter" idx="12" hasCustomPrompt="1"/>
          </p:nvPr>
        </p:nvSpPr>
        <p:spPr>
          <a:xfrm>
            <a:off x="3049693" y="1927755"/>
            <a:ext cx="3017521" cy="1706562"/>
          </a:xfrm>
          <a:solidFill>
            <a:schemeClr val="bg1">
              <a:lumMod val="85000"/>
            </a:schemeClr>
          </a:solidFill>
        </p:spPr>
        <p:txBody>
          <a:bodyPr anchor="ctr">
            <a:normAutofit/>
          </a:bodyPr>
          <a:lstStyle>
            <a:lvl1pPr marL="0" indent="0" algn="ctr">
              <a:buNone/>
              <a:defRPr sz="1200" b="0">
                <a:solidFill>
                  <a:schemeClr val="tx1">
                    <a:lumMod val="50000"/>
                    <a:lumOff val="50000"/>
                  </a:schemeClr>
                </a:solidFill>
              </a:defRPr>
            </a:lvl1pPr>
          </a:lstStyle>
          <a:p>
            <a:r>
              <a:rPr lang="en-US"/>
              <a:t>Insert photo here</a:t>
            </a:r>
          </a:p>
        </p:txBody>
      </p:sp>
      <p:sp>
        <p:nvSpPr>
          <p:cNvPr id="18" name="Picture Placeholder 15">
            <a:extLst>
              <a:ext uri="{FF2B5EF4-FFF2-40B4-BE49-F238E27FC236}">
                <a16:creationId xmlns:a16="http://schemas.microsoft.com/office/drawing/2014/main" id="{94262E97-B7F8-4095-A959-B2C6D66AE085}"/>
              </a:ext>
            </a:extLst>
          </p:cNvPr>
          <p:cNvSpPr>
            <a:spLocks noGrp="1"/>
          </p:cNvSpPr>
          <p:nvPr>
            <p:ph type="pic" sz="quarter" idx="13" hasCustomPrompt="1"/>
          </p:nvPr>
        </p:nvSpPr>
        <p:spPr>
          <a:xfrm>
            <a:off x="6110498" y="1927755"/>
            <a:ext cx="3017521" cy="1706562"/>
          </a:xfrm>
          <a:solidFill>
            <a:schemeClr val="bg1">
              <a:lumMod val="85000"/>
            </a:schemeClr>
          </a:solidFill>
        </p:spPr>
        <p:txBody>
          <a:bodyPr anchor="ctr">
            <a:normAutofit/>
          </a:bodyPr>
          <a:lstStyle>
            <a:lvl1pPr marL="0" indent="0" algn="ctr">
              <a:buNone/>
              <a:defRPr sz="1200" b="0">
                <a:solidFill>
                  <a:schemeClr val="tx1">
                    <a:lumMod val="50000"/>
                    <a:lumOff val="50000"/>
                  </a:schemeClr>
                </a:solidFill>
              </a:defRPr>
            </a:lvl1pPr>
          </a:lstStyle>
          <a:p>
            <a:r>
              <a:rPr lang="en-US"/>
              <a:t>Insert photo here</a:t>
            </a:r>
          </a:p>
        </p:txBody>
      </p:sp>
      <p:sp>
        <p:nvSpPr>
          <p:cNvPr id="19" name="Picture Placeholder 15">
            <a:extLst>
              <a:ext uri="{FF2B5EF4-FFF2-40B4-BE49-F238E27FC236}">
                <a16:creationId xmlns:a16="http://schemas.microsoft.com/office/drawing/2014/main" id="{C14C4D13-49AC-4208-BEFF-0899F4B2E2E1}"/>
              </a:ext>
            </a:extLst>
          </p:cNvPr>
          <p:cNvSpPr>
            <a:spLocks noGrp="1"/>
          </p:cNvSpPr>
          <p:nvPr>
            <p:ph type="pic" sz="quarter" idx="14" hasCustomPrompt="1"/>
          </p:nvPr>
        </p:nvSpPr>
        <p:spPr>
          <a:xfrm>
            <a:off x="9171305" y="1927755"/>
            <a:ext cx="3017521" cy="1706562"/>
          </a:xfrm>
          <a:solidFill>
            <a:schemeClr val="bg1">
              <a:lumMod val="85000"/>
            </a:schemeClr>
          </a:solidFill>
        </p:spPr>
        <p:txBody>
          <a:bodyPr anchor="ctr">
            <a:normAutofit/>
          </a:bodyPr>
          <a:lstStyle>
            <a:lvl1pPr marL="0" indent="0" algn="ctr">
              <a:buNone/>
              <a:defRPr sz="1200" b="0">
                <a:solidFill>
                  <a:schemeClr val="tx1">
                    <a:lumMod val="50000"/>
                    <a:lumOff val="50000"/>
                  </a:schemeClr>
                </a:solidFill>
              </a:defRPr>
            </a:lvl1pPr>
          </a:lstStyle>
          <a:p>
            <a:r>
              <a:rPr lang="en-US"/>
              <a:t>Insert photo here</a:t>
            </a:r>
          </a:p>
        </p:txBody>
      </p:sp>
      <p:pic>
        <p:nvPicPr>
          <p:cNvPr id="13" name="Picture 12">
            <a:extLst>
              <a:ext uri="{FF2B5EF4-FFF2-40B4-BE49-F238E27FC236}">
                <a16:creationId xmlns:a16="http://schemas.microsoft.com/office/drawing/2014/main" id="{F5DB1198-5006-4E2F-9D7F-B63973F363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28707" y="6004139"/>
            <a:ext cx="1207772" cy="702594"/>
          </a:xfrm>
          <a:prstGeom prst="rect">
            <a:avLst/>
          </a:prstGeom>
        </p:spPr>
      </p:pic>
    </p:spTree>
    <p:extLst>
      <p:ext uri="{BB962C8B-B14F-4D97-AF65-F5344CB8AC3E}">
        <p14:creationId xmlns:p14="http://schemas.microsoft.com/office/powerpoint/2010/main" val="20412627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ctrTitle"/>
          </p:nvPr>
        </p:nvSpPr>
        <p:spPr>
          <a:xfrm>
            <a:off x="328664" y="2817083"/>
            <a:ext cx="8455769" cy="984333"/>
          </a:xfrm>
        </p:spPr>
        <p:txBody>
          <a:bodyPr anchor="b">
            <a:normAutofit/>
          </a:bodyPr>
          <a:lstStyle>
            <a:lvl1pPr>
              <a:defRPr>
                <a:solidFill>
                  <a:schemeClr val="tx1"/>
                </a:solidFill>
              </a:defRPr>
            </a:lvl1pPr>
          </a:lstStyle>
          <a:p>
            <a:r>
              <a:rPr lang="en-US"/>
              <a:t>Click to edit Master title style</a:t>
            </a:r>
          </a:p>
        </p:txBody>
      </p:sp>
      <p:sp>
        <p:nvSpPr>
          <p:cNvPr id="3" name="Subtitle 2"/>
          <p:cNvSpPr>
            <a:spLocks noGrp="1"/>
          </p:cNvSpPr>
          <p:nvPr>
            <p:ph type="subTitle" idx="1"/>
          </p:nvPr>
        </p:nvSpPr>
        <p:spPr>
          <a:xfrm>
            <a:off x="328664" y="3869148"/>
            <a:ext cx="8455769" cy="640767"/>
          </a:xfrm>
        </p:spPr>
        <p:txBody>
          <a:bodyPr>
            <a:normAutofit/>
          </a:bodyPr>
          <a:lstStyle>
            <a:lvl1pPr marL="0" indent="0" algn="l">
              <a:buNone/>
              <a:defRPr sz="1999">
                <a:solidFill>
                  <a:schemeClr val="tx1"/>
                </a:solidFill>
              </a:defRPr>
            </a:lvl1pPr>
            <a:lvl2pPr marL="457070" indent="0" algn="ctr">
              <a:buNone/>
              <a:defRPr>
                <a:solidFill>
                  <a:schemeClr val="tx1">
                    <a:tint val="75000"/>
                  </a:schemeClr>
                </a:solidFill>
              </a:defRPr>
            </a:lvl2pPr>
            <a:lvl3pPr marL="914141" indent="0" algn="ctr">
              <a:buNone/>
              <a:defRPr>
                <a:solidFill>
                  <a:schemeClr val="tx1">
                    <a:tint val="75000"/>
                  </a:schemeClr>
                </a:solidFill>
              </a:defRPr>
            </a:lvl3pPr>
            <a:lvl4pPr marL="1371211" indent="0" algn="ctr">
              <a:buNone/>
              <a:defRPr>
                <a:solidFill>
                  <a:schemeClr val="tx1">
                    <a:tint val="75000"/>
                  </a:schemeClr>
                </a:solidFill>
              </a:defRPr>
            </a:lvl4pPr>
            <a:lvl5pPr marL="1828282" indent="0" algn="ctr">
              <a:buNone/>
              <a:defRPr>
                <a:solidFill>
                  <a:schemeClr val="tx1">
                    <a:tint val="75000"/>
                  </a:schemeClr>
                </a:solidFill>
              </a:defRPr>
            </a:lvl5pPr>
            <a:lvl6pPr marL="2285352" indent="0" algn="ctr">
              <a:buNone/>
              <a:defRPr>
                <a:solidFill>
                  <a:schemeClr val="tx1">
                    <a:tint val="75000"/>
                  </a:schemeClr>
                </a:solidFill>
              </a:defRPr>
            </a:lvl6pPr>
            <a:lvl7pPr marL="2742423" indent="0" algn="ctr">
              <a:buNone/>
              <a:defRPr>
                <a:solidFill>
                  <a:schemeClr val="tx1">
                    <a:tint val="75000"/>
                  </a:schemeClr>
                </a:solidFill>
              </a:defRPr>
            </a:lvl7pPr>
            <a:lvl8pPr marL="3199493" indent="0" algn="ctr">
              <a:buNone/>
              <a:defRPr>
                <a:solidFill>
                  <a:schemeClr val="tx1">
                    <a:tint val="75000"/>
                  </a:schemeClr>
                </a:solidFill>
              </a:defRPr>
            </a:lvl8pPr>
            <a:lvl9pPr marL="3656564" indent="0" algn="ctr">
              <a:buNone/>
              <a:defRPr>
                <a:solidFill>
                  <a:schemeClr val="tx1">
                    <a:tint val="75000"/>
                  </a:schemeClr>
                </a:solidFill>
              </a:defRPr>
            </a:lvl9pPr>
          </a:lstStyle>
          <a:p>
            <a:r>
              <a:rPr lang="en-US"/>
              <a:t>Click to edit Master subtitle style</a:t>
            </a:r>
          </a:p>
        </p:txBody>
      </p:sp>
      <p:sp>
        <p:nvSpPr>
          <p:cNvPr id="12" name="Rectangle 11">
            <a:extLst>
              <a:ext uri="{FF2B5EF4-FFF2-40B4-BE49-F238E27FC236}">
                <a16:creationId xmlns:a16="http://schemas.microsoft.com/office/drawing/2014/main" id="{7A85F325-7987-4A1E-820A-9A64A1B13356}"/>
              </a:ext>
            </a:extLst>
          </p:cNvPr>
          <p:cNvSpPr/>
          <p:nvPr userDrawn="1"/>
        </p:nvSpPr>
        <p:spPr>
          <a:xfrm>
            <a:off x="8483630" y="2209317"/>
            <a:ext cx="3705198" cy="48308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p>
        </p:txBody>
      </p:sp>
      <p:sp>
        <p:nvSpPr>
          <p:cNvPr id="13" name="Rectangle 3">
            <a:extLst>
              <a:ext uri="{FF2B5EF4-FFF2-40B4-BE49-F238E27FC236}">
                <a16:creationId xmlns:a16="http://schemas.microsoft.com/office/drawing/2014/main" id="{352936BF-BEFE-420D-886B-904153FF49AA}"/>
              </a:ext>
            </a:extLst>
          </p:cNvPr>
          <p:cNvSpPr/>
          <p:nvPr userDrawn="1"/>
        </p:nvSpPr>
        <p:spPr>
          <a:xfrm>
            <a:off x="5" y="2209626"/>
            <a:ext cx="9074877" cy="482776"/>
          </a:xfrm>
          <a:custGeom>
            <a:avLst/>
            <a:gdLst>
              <a:gd name="connsiteX0" fmla="*/ 0 w 6709251"/>
              <a:gd name="connsiteY0" fmla="*/ 0 h 182880"/>
              <a:gd name="connsiteX1" fmla="*/ 6709251 w 6709251"/>
              <a:gd name="connsiteY1" fmla="*/ 0 h 182880"/>
              <a:gd name="connsiteX2" fmla="*/ 6709251 w 6709251"/>
              <a:gd name="connsiteY2" fmla="*/ 182880 h 182880"/>
              <a:gd name="connsiteX3" fmla="*/ 0 w 6709251"/>
              <a:gd name="connsiteY3" fmla="*/ 182880 h 182880"/>
              <a:gd name="connsiteX4" fmla="*/ 0 w 6709251"/>
              <a:gd name="connsiteY4" fmla="*/ 0 h 182880"/>
              <a:gd name="connsiteX0" fmla="*/ 0 w 7073510"/>
              <a:gd name="connsiteY0" fmla="*/ 0 h 182880"/>
              <a:gd name="connsiteX1" fmla="*/ 7073510 w 7073510"/>
              <a:gd name="connsiteY1" fmla="*/ 0 h 182880"/>
              <a:gd name="connsiteX2" fmla="*/ 6709251 w 7073510"/>
              <a:gd name="connsiteY2" fmla="*/ 182880 h 182880"/>
              <a:gd name="connsiteX3" fmla="*/ 0 w 7073510"/>
              <a:gd name="connsiteY3" fmla="*/ 182880 h 182880"/>
              <a:gd name="connsiteX4" fmla="*/ 0 w 7073510"/>
              <a:gd name="connsiteY4" fmla="*/ 0 h 182880"/>
              <a:gd name="connsiteX0" fmla="*/ 0 w 8678702"/>
              <a:gd name="connsiteY0" fmla="*/ 0 h 182880"/>
              <a:gd name="connsiteX1" fmla="*/ 8678702 w 8678702"/>
              <a:gd name="connsiteY1" fmla="*/ 0 h 182880"/>
              <a:gd name="connsiteX2" fmla="*/ 8314443 w 8678702"/>
              <a:gd name="connsiteY2" fmla="*/ 182880 h 182880"/>
              <a:gd name="connsiteX3" fmla="*/ 1605192 w 8678702"/>
              <a:gd name="connsiteY3" fmla="*/ 182880 h 182880"/>
              <a:gd name="connsiteX4" fmla="*/ 0 w 8678702"/>
              <a:gd name="connsiteY4" fmla="*/ 0 h 182880"/>
              <a:gd name="connsiteX0" fmla="*/ 0 w 8678702"/>
              <a:gd name="connsiteY0" fmla="*/ 0 h 186220"/>
              <a:gd name="connsiteX1" fmla="*/ 8678702 w 8678702"/>
              <a:gd name="connsiteY1" fmla="*/ 0 h 186220"/>
              <a:gd name="connsiteX2" fmla="*/ 8314443 w 8678702"/>
              <a:gd name="connsiteY2" fmla="*/ 182880 h 186220"/>
              <a:gd name="connsiteX3" fmla="*/ 6661 w 8678702"/>
              <a:gd name="connsiteY3" fmla="*/ 186220 h 186220"/>
              <a:gd name="connsiteX4" fmla="*/ 0 w 8678702"/>
              <a:gd name="connsiteY4" fmla="*/ 0 h 186220"/>
              <a:gd name="connsiteX0" fmla="*/ 133211 w 8672041"/>
              <a:gd name="connsiteY0" fmla="*/ 50097 h 186220"/>
              <a:gd name="connsiteX1" fmla="*/ 8672041 w 8672041"/>
              <a:gd name="connsiteY1" fmla="*/ 0 h 186220"/>
              <a:gd name="connsiteX2" fmla="*/ 8307782 w 8672041"/>
              <a:gd name="connsiteY2" fmla="*/ 182880 h 186220"/>
              <a:gd name="connsiteX3" fmla="*/ 0 w 8672041"/>
              <a:gd name="connsiteY3" fmla="*/ 186220 h 186220"/>
              <a:gd name="connsiteX4" fmla="*/ 133211 w 8672041"/>
              <a:gd name="connsiteY4" fmla="*/ 50097 h 186220"/>
              <a:gd name="connsiteX0" fmla="*/ 3330 w 8672041"/>
              <a:gd name="connsiteY0" fmla="*/ 3340 h 186220"/>
              <a:gd name="connsiteX1" fmla="*/ 8672041 w 8672041"/>
              <a:gd name="connsiteY1" fmla="*/ 0 h 186220"/>
              <a:gd name="connsiteX2" fmla="*/ 8307782 w 8672041"/>
              <a:gd name="connsiteY2" fmla="*/ 182880 h 186220"/>
              <a:gd name="connsiteX3" fmla="*/ 0 w 8672041"/>
              <a:gd name="connsiteY3" fmla="*/ 186220 h 186220"/>
              <a:gd name="connsiteX4" fmla="*/ 3330 w 8672041"/>
              <a:gd name="connsiteY4" fmla="*/ 3340 h 186220"/>
              <a:gd name="connsiteX0" fmla="*/ 3330 w 8672041"/>
              <a:gd name="connsiteY0" fmla="*/ 3340 h 186220"/>
              <a:gd name="connsiteX1" fmla="*/ 8672041 w 8672041"/>
              <a:gd name="connsiteY1" fmla="*/ 0 h 186220"/>
              <a:gd name="connsiteX2" fmla="*/ 8307782 w 8672041"/>
              <a:gd name="connsiteY2" fmla="*/ 182880 h 186220"/>
              <a:gd name="connsiteX3" fmla="*/ 0 w 8672041"/>
              <a:gd name="connsiteY3" fmla="*/ 186220 h 186220"/>
              <a:gd name="connsiteX4" fmla="*/ 3330 w 8672041"/>
              <a:gd name="connsiteY4" fmla="*/ 3340 h 186220"/>
              <a:gd name="connsiteX0" fmla="*/ 0 w 8674979"/>
              <a:gd name="connsiteY0" fmla="*/ 3340 h 186220"/>
              <a:gd name="connsiteX1" fmla="*/ 8674979 w 8674979"/>
              <a:gd name="connsiteY1" fmla="*/ 0 h 186220"/>
              <a:gd name="connsiteX2" fmla="*/ 8310720 w 8674979"/>
              <a:gd name="connsiteY2" fmla="*/ 182880 h 186220"/>
              <a:gd name="connsiteX3" fmla="*/ 2938 w 8674979"/>
              <a:gd name="connsiteY3" fmla="*/ 186220 h 186220"/>
              <a:gd name="connsiteX4" fmla="*/ 0 w 8674979"/>
              <a:gd name="connsiteY4" fmla="*/ 3340 h 186220"/>
              <a:gd name="connsiteX0" fmla="*/ 0 w 8674979"/>
              <a:gd name="connsiteY0" fmla="*/ 0 h 189166"/>
              <a:gd name="connsiteX1" fmla="*/ 8674979 w 8674979"/>
              <a:gd name="connsiteY1" fmla="*/ 2946 h 189166"/>
              <a:gd name="connsiteX2" fmla="*/ 8310720 w 8674979"/>
              <a:gd name="connsiteY2" fmla="*/ 185826 h 189166"/>
              <a:gd name="connsiteX3" fmla="*/ 2938 w 8674979"/>
              <a:gd name="connsiteY3" fmla="*/ 189166 h 189166"/>
              <a:gd name="connsiteX4" fmla="*/ 0 w 8674979"/>
              <a:gd name="connsiteY4" fmla="*/ 0 h 189166"/>
              <a:gd name="connsiteX0" fmla="*/ 0 w 8674979"/>
              <a:gd name="connsiteY0" fmla="*/ 444 h 189610"/>
              <a:gd name="connsiteX1" fmla="*/ 8674979 w 8674979"/>
              <a:gd name="connsiteY1" fmla="*/ 0 h 189610"/>
              <a:gd name="connsiteX2" fmla="*/ 8310720 w 8674979"/>
              <a:gd name="connsiteY2" fmla="*/ 186270 h 189610"/>
              <a:gd name="connsiteX3" fmla="*/ 2938 w 8674979"/>
              <a:gd name="connsiteY3" fmla="*/ 189610 h 189610"/>
              <a:gd name="connsiteX4" fmla="*/ 0 w 8674979"/>
              <a:gd name="connsiteY4" fmla="*/ 444 h 189610"/>
              <a:gd name="connsiteX0" fmla="*/ 0 w 8674979"/>
              <a:gd name="connsiteY0" fmla="*/ 444 h 189660"/>
              <a:gd name="connsiteX1" fmla="*/ 8674979 w 8674979"/>
              <a:gd name="connsiteY1" fmla="*/ 0 h 189660"/>
              <a:gd name="connsiteX2" fmla="*/ 8310720 w 8674979"/>
              <a:gd name="connsiteY2" fmla="*/ 189660 h 189660"/>
              <a:gd name="connsiteX3" fmla="*/ 2938 w 8674979"/>
              <a:gd name="connsiteY3" fmla="*/ 189610 h 189660"/>
              <a:gd name="connsiteX4" fmla="*/ 0 w 8674979"/>
              <a:gd name="connsiteY4" fmla="*/ 444 h 189660"/>
              <a:gd name="connsiteX0" fmla="*/ 0 w 10119577"/>
              <a:gd name="connsiteY0" fmla="*/ 0 h 189216"/>
              <a:gd name="connsiteX1" fmla="*/ 10119577 w 10119577"/>
              <a:gd name="connsiteY1" fmla="*/ 686 h 189216"/>
              <a:gd name="connsiteX2" fmla="*/ 8310720 w 10119577"/>
              <a:gd name="connsiteY2" fmla="*/ 189216 h 189216"/>
              <a:gd name="connsiteX3" fmla="*/ 2938 w 10119577"/>
              <a:gd name="connsiteY3" fmla="*/ 189166 h 189216"/>
              <a:gd name="connsiteX4" fmla="*/ 0 w 10119577"/>
              <a:gd name="connsiteY4" fmla="*/ 0 h 189216"/>
              <a:gd name="connsiteX0" fmla="*/ 0 w 10119577"/>
              <a:gd name="connsiteY0" fmla="*/ 173 h 189389"/>
              <a:gd name="connsiteX1" fmla="*/ 10119577 w 10119577"/>
              <a:gd name="connsiteY1" fmla="*/ 0 h 189389"/>
              <a:gd name="connsiteX2" fmla="*/ 8310720 w 10119577"/>
              <a:gd name="connsiteY2" fmla="*/ 189389 h 189389"/>
              <a:gd name="connsiteX3" fmla="*/ 2938 w 10119577"/>
              <a:gd name="connsiteY3" fmla="*/ 189339 h 189389"/>
              <a:gd name="connsiteX4" fmla="*/ 0 w 10119577"/>
              <a:gd name="connsiteY4" fmla="*/ 173 h 189389"/>
              <a:gd name="connsiteX0" fmla="*/ 10004 w 10129581"/>
              <a:gd name="connsiteY0" fmla="*/ 173 h 189389"/>
              <a:gd name="connsiteX1" fmla="*/ 10129581 w 10129581"/>
              <a:gd name="connsiteY1" fmla="*/ 0 h 189389"/>
              <a:gd name="connsiteX2" fmla="*/ 8320724 w 10129581"/>
              <a:gd name="connsiteY2" fmla="*/ 189389 h 189389"/>
              <a:gd name="connsiteX3" fmla="*/ 57 w 10129581"/>
              <a:gd name="connsiteY3" fmla="*/ 189339 h 189389"/>
              <a:gd name="connsiteX4" fmla="*/ 10004 w 10129581"/>
              <a:gd name="connsiteY4" fmla="*/ 173 h 189389"/>
              <a:gd name="connsiteX0" fmla="*/ 9947 w 10129524"/>
              <a:gd name="connsiteY0" fmla="*/ 173 h 189389"/>
              <a:gd name="connsiteX1" fmla="*/ 10129524 w 10129524"/>
              <a:gd name="connsiteY1" fmla="*/ 0 h 189389"/>
              <a:gd name="connsiteX2" fmla="*/ 8320667 w 10129524"/>
              <a:gd name="connsiteY2" fmla="*/ 189389 h 189389"/>
              <a:gd name="connsiteX3" fmla="*/ 0 w 10129524"/>
              <a:gd name="connsiteY3" fmla="*/ 189339 h 189389"/>
              <a:gd name="connsiteX4" fmla="*/ 9947 w 10129524"/>
              <a:gd name="connsiteY4" fmla="*/ 173 h 189389"/>
              <a:gd name="connsiteX0" fmla="*/ 9947 w 10129524"/>
              <a:gd name="connsiteY0" fmla="*/ 173 h 189389"/>
              <a:gd name="connsiteX1" fmla="*/ 10129524 w 10129524"/>
              <a:gd name="connsiteY1" fmla="*/ 0 h 189389"/>
              <a:gd name="connsiteX2" fmla="*/ 8320667 w 10129524"/>
              <a:gd name="connsiteY2" fmla="*/ 189389 h 189389"/>
              <a:gd name="connsiteX3" fmla="*/ 0 w 10129524"/>
              <a:gd name="connsiteY3" fmla="*/ 189339 h 189389"/>
              <a:gd name="connsiteX4" fmla="*/ 9947 w 10129524"/>
              <a:gd name="connsiteY4" fmla="*/ 173 h 189389"/>
              <a:gd name="connsiteX0" fmla="*/ 0 w 10119577"/>
              <a:gd name="connsiteY0" fmla="*/ 173 h 189389"/>
              <a:gd name="connsiteX1" fmla="*/ 10119577 w 10119577"/>
              <a:gd name="connsiteY1" fmla="*/ 0 h 189389"/>
              <a:gd name="connsiteX2" fmla="*/ 8310720 w 10119577"/>
              <a:gd name="connsiteY2" fmla="*/ 189389 h 189389"/>
              <a:gd name="connsiteX3" fmla="*/ 15823 w 10119577"/>
              <a:gd name="connsiteY3" fmla="*/ 189339 h 189389"/>
              <a:gd name="connsiteX4" fmla="*/ 0 w 10119577"/>
              <a:gd name="connsiteY4" fmla="*/ 173 h 189389"/>
              <a:gd name="connsiteX0" fmla="*/ 0 w 10119577"/>
              <a:gd name="connsiteY0" fmla="*/ 173 h 189389"/>
              <a:gd name="connsiteX1" fmla="*/ 10119577 w 10119577"/>
              <a:gd name="connsiteY1" fmla="*/ 0 h 189389"/>
              <a:gd name="connsiteX2" fmla="*/ 8310720 w 10119577"/>
              <a:gd name="connsiteY2" fmla="*/ 189389 h 189389"/>
              <a:gd name="connsiteX3" fmla="*/ 2938 w 10119577"/>
              <a:gd name="connsiteY3" fmla="*/ 189339 h 189389"/>
              <a:gd name="connsiteX4" fmla="*/ 0 w 10119577"/>
              <a:gd name="connsiteY4" fmla="*/ 173 h 189389"/>
              <a:gd name="connsiteX0" fmla="*/ 0 w 21540281"/>
              <a:gd name="connsiteY0" fmla="*/ 9120 h 189389"/>
              <a:gd name="connsiteX1" fmla="*/ 21540281 w 21540281"/>
              <a:gd name="connsiteY1" fmla="*/ 0 h 189389"/>
              <a:gd name="connsiteX2" fmla="*/ 19731424 w 21540281"/>
              <a:gd name="connsiteY2" fmla="*/ 189389 h 189389"/>
              <a:gd name="connsiteX3" fmla="*/ 11423642 w 21540281"/>
              <a:gd name="connsiteY3" fmla="*/ 189339 h 189389"/>
              <a:gd name="connsiteX4" fmla="*/ 0 w 21540281"/>
              <a:gd name="connsiteY4" fmla="*/ 9120 h 189389"/>
              <a:gd name="connsiteX0" fmla="*/ 0 w 21540281"/>
              <a:gd name="connsiteY0" fmla="*/ 9120 h 192321"/>
              <a:gd name="connsiteX1" fmla="*/ 21540281 w 21540281"/>
              <a:gd name="connsiteY1" fmla="*/ 0 h 192321"/>
              <a:gd name="connsiteX2" fmla="*/ 19731424 w 21540281"/>
              <a:gd name="connsiteY2" fmla="*/ 189389 h 192321"/>
              <a:gd name="connsiteX3" fmla="*/ 2942 w 21540281"/>
              <a:gd name="connsiteY3" fmla="*/ 192321 h 192321"/>
              <a:gd name="connsiteX4" fmla="*/ 0 w 21540281"/>
              <a:gd name="connsiteY4" fmla="*/ 9120 h 192321"/>
              <a:gd name="connsiteX0" fmla="*/ 0 w 21540281"/>
              <a:gd name="connsiteY0" fmla="*/ 6138 h 192321"/>
              <a:gd name="connsiteX1" fmla="*/ 21540281 w 21540281"/>
              <a:gd name="connsiteY1" fmla="*/ 0 h 192321"/>
              <a:gd name="connsiteX2" fmla="*/ 19731424 w 21540281"/>
              <a:gd name="connsiteY2" fmla="*/ 189389 h 192321"/>
              <a:gd name="connsiteX3" fmla="*/ 2942 w 21540281"/>
              <a:gd name="connsiteY3" fmla="*/ 192321 h 192321"/>
              <a:gd name="connsiteX4" fmla="*/ 0 w 21540281"/>
              <a:gd name="connsiteY4" fmla="*/ 6138 h 192321"/>
              <a:gd name="connsiteX0" fmla="*/ 2579162 w 24119443"/>
              <a:gd name="connsiteY0" fmla="*/ 6138 h 192321"/>
              <a:gd name="connsiteX1" fmla="*/ 24119443 w 24119443"/>
              <a:gd name="connsiteY1" fmla="*/ 0 h 192321"/>
              <a:gd name="connsiteX2" fmla="*/ 22310586 w 24119443"/>
              <a:gd name="connsiteY2" fmla="*/ 189389 h 192321"/>
              <a:gd name="connsiteX3" fmla="*/ 2582104 w 24119443"/>
              <a:gd name="connsiteY3" fmla="*/ 192321 h 192321"/>
              <a:gd name="connsiteX4" fmla="*/ 2579162 w 24119443"/>
              <a:gd name="connsiteY4" fmla="*/ 6138 h 192321"/>
              <a:gd name="connsiteX0" fmla="*/ 1459081 w 22999362"/>
              <a:gd name="connsiteY0" fmla="*/ 6138 h 192321"/>
              <a:gd name="connsiteX1" fmla="*/ 22999362 w 22999362"/>
              <a:gd name="connsiteY1" fmla="*/ 0 h 192321"/>
              <a:gd name="connsiteX2" fmla="*/ 21190505 w 22999362"/>
              <a:gd name="connsiteY2" fmla="*/ 189389 h 192321"/>
              <a:gd name="connsiteX3" fmla="*/ 1462023 w 22999362"/>
              <a:gd name="connsiteY3" fmla="*/ 192321 h 192321"/>
              <a:gd name="connsiteX4" fmla="*/ 1459081 w 22999362"/>
              <a:gd name="connsiteY4" fmla="*/ 6138 h 192321"/>
              <a:gd name="connsiteX0" fmla="*/ 2579108 w 24119389"/>
              <a:gd name="connsiteY0" fmla="*/ 6138 h 192321"/>
              <a:gd name="connsiteX1" fmla="*/ 24119389 w 24119389"/>
              <a:gd name="connsiteY1" fmla="*/ 0 h 192321"/>
              <a:gd name="connsiteX2" fmla="*/ 22310532 w 24119389"/>
              <a:gd name="connsiteY2" fmla="*/ 189389 h 192321"/>
              <a:gd name="connsiteX3" fmla="*/ 2582050 w 24119389"/>
              <a:gd name="connsiteY3" fmla="*/ 192321 h 192321"/>
              <a:gd name="connsiteX4" fmla="*/ 2579108 w 24119389"/>
              <a:gd name="connsiteY4" fmla="*/ 6138 h 192321"/>
              <a:gd name="connsiteX0" fmla="*/ 1594923 w 23135204"/>
              <a:gd name="connsiteY0" fmla="*/ 6138 h 192321"/>
              <a:gd name="connsiteX1" fmla="*/ 23135204 w 23135204"/>
              <a:gd name="connsiteY1" fmla="*/ 0 h 192321"/>
              <a:gd name="connsiteX2" fmla="*/ 21326347 w 23135204"/>
              <a:gd name="connsiteY2" fmla="*/ 189389 h 192321"/>
              <a:gd name="connsiteX3" fmla="*/ 1597865 w 23135204"/>
              <a:gd name="connsiteY3" fmla="*/ 192321 h 192321"/>
              <a:gd name="connsiteX4" fmla="*/ 1594923 w 23135204"/>
              <a:gd name="connsiteY4" fmla="*/ 6138 h 192321"/>
              <a:gd name="connsiteX0" fmla="*/ 1 w 21540282"/>
              <a:gd name="connsiteY0" fmla="*/ 6138 h 192321"/>
              <a:gd name="connsiteX1" fmla="*/ 21540282 w 21540282"/>
              <a:gd name="connsiteY1" fmla="*/ 0 h 192321"/>
              <a:gd name="connsiteX2" fmla="*/ 19731425 w 21540282"/>
              <a:gd name="connsiteY2" fmla="*/ 189389 h 192321"/>
              <a:gd name="connsiteX3" fmla="*/ 2943 w 21540282"/>
              <a:gd name="connsiteY3" fmla="*/ 192321 h 192321"/>
              <a:gd name="connsiteX4" fmla="*/ 1 w 21540282"/>
              <a:gd name="connsiteY4" fmla="*/ 6138 h 192321"/>
              <a:gd name="connsiteX0" fmla="*/ 0 w 21540282"/>
              <a:gd name="connsiteY0" fmla="*/ 3156 h 192321"/>
              <a:gd name="connsiteX1" fmla="*/ 21540282 w 21540282"/>
              <a:gd name="connsiteY1" fmla="*/ 0 h 192321"/>
              <a:gd name="connsiteX2" fmla="*/ 19731425 w 21540282"/>
              <a:gd name="connsiteY2" fmla="*/ 189389 h 192321"/>
              <a:gd name="connsiteX3" fmla="*/ 2943 w 21540282"/>
              <a:gd name="connsiteY3" fmla="*/ 192321 h 192321"/>
              <a:gd name="connsiteX4" fmla="*/ 0 w 21540282"/>
              <a:gd name="connsiteY4" fmla="*/ 3156 h 192321"/>
              <a:gd name="connsiteX0" fmla="*/ 0 w 21540282"/>
              <a:gd name="connsiteY0" fmla="*/ 347 h 192321"/>
              <a:gd name="connsiteX1" fmla="*/ 21540282 w 21540282"/>
              <a:gd name="connsiteY1" fmla="*/ 0 h 192321"/>
              <a:gd name="connsiteX2" fmla="*/ 19731425 w 21540282"/>
              <a:gd name="connsiteY2" fmla="*/ 189389 h 192321"/>
              <a:gd name="connsiteX3" fmla="*/ 2943 w 21540282"/>
              <a:gd name="connsiteY3" fmla="*/ 192321 h 192321"/>
              <a:gd name="connsiteX4" fmla="*/ 0 w 21540282"/>
              <a:gd name="connsiteY4" fmla="*/ 347 h 192321"/>
              <a:gd name="connsiteX0" fmla="*/ 0 w 21540282"/>
              <a:gd name="connsiteY0" fmla="*/ 347 h 192321"/>
              <a:gd name="connsiteX1" fmla="*/ 21540282 w 21540282"/>
              <a:gd name="connsiteY1" fmla="*/ 0 h 192321"/>
              <a:gd name="connsiteX2" fmla="*/ 19731425 w 21540282"/>
              <a:gd name="connsiteY2" fmla="*/ 189389 h 192321"/>
              <a:gd name="connsiteX3" fmla="*/ 2942 w 21540282"/>
              <a:gd name="connsiteY3" fmla="*/ 192321 h 192321"/>
              <a:gd name="connsiteX4" fmla="*/ 0 w 21540282"/>
              <a:gd name="connsiteY4" fmla="*/ 347 h 192321"/>
              <a:gd name="connsiteX0" fmla="*/ 0 w 21540282"/>
              <a:gd name="connsiteY0" fmla="*/ 347 h 189512"/>
              <a:gd name="connsiteX1" fmla="*/ 21540282 w 21540282"/>
              <a:gd name="connsiteY1" fmla="*/ 0 h 189512"/>
              <a:gd name="connsiteX2" fmla="*/ 19731425 w 21540282"/>
              <a:gd name="connsiteY2" fmla="*/ 189389 h 189512"/>
              <a:gd name="connsiteX3" fmla="*/ 2942 w 21540282"/>
              <a:gd name="connsiteY3" fmla="*/ 189512 h 189512"/>
              <a:gd name="connsiteX4" fmla="*/ 0 w 21540282"/>
              <a:gd name="connsiteY4" fmla="*/ 347 h 189512"/>
              <a:gd name="connsiteX0" fmla="*/ 0 w 20903501"/>
              <a:gd name="connsiteY0" fmla="*/ 347 h 189512"/>
              <a:gd name="connsiteX1" fmla="*/ 20903501 w 20903501"/>
              <a:gd name="connsiteY1" fmla="*/ 0 h 189512"/>
              <a:gd name="connsiteX2" fmla="*/ 19731425 w 20903501"/>
              <a:gd name="connsiteY2" fmla="*/ 189389 h 189512"/>
              <a:gd name="connsiteX3" fmla="*/ 2942 w 20903501"/>
              <a:gd name="connsiteY3" fmla="*/ 189512 h 189512"/>
              <a:gd name="connsiteX4" fmla="*/ 0 w 20903501"/>
              <a:gd name="connsiteY4" fmla="*/ 347 h 18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3501" h="189512">
                <a:moveTo>
                  <a:pt x="0" y="347"/>
                </a:moveTo>
                <a:lnTo>
                  <a:pt x="20903501" y="0"/>
                </a:lnTo>
                <a:lnTo>
                  <a:pt x="19731425" y="189389"/>
                </a:lnTo>
                <a:lnTo>
                  <a:pt x="2942" y="189512"/>
                </a:lnTo>
                <a:cubicBezTo>
                  <a:pt x="1961" y="125521"/>
                  <a:pt x="981" y="64338"/>
                  <a:pt x="0" y="347"/>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pic>
        <p:nvPicPr>
          <p:cNvPr id="8" name="Picture 7">
            <a:extLst>
              <a:ext uri="{FF2B5EF4-FFF2-40B4-BE49-F238E27FC236}">
                <a16:creationId xmlns:a16="http://schemas.microsoft.com/office/drawing/2014/main" id="{55F3F649-8045-49D3-BBC2-F4BE99BAE6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28707" y="6004139"/>
            <a:ext cx="1207772" cy="702594"/>
          </a:xfrm>
          <a:prstGeom prst="rect">
            <a:avLst/>
          </a:prstGeom>
        </p:spPr>
      </p:pic>
    </p:spTree>
    <p:extLst>
      <p:ext uri="{BB962C8B-B14F-4D97-AF65-F5344CB8AC3E}">
        <p14:creationId xmlns:p14="http://schemas.microsoft.com/office/powerpoint/2010/main" val="35439102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FD9C4343-C115-504A-8D4F-0B17318D4A48}" type="slidenum">
              <a:rPr lang="en-US" smtClean="0"/>
              <a:pPr/>
              <a:t>‹#›</a:t>
            </a:fld>
            <a:endParaRPr lang="en-US"/>
          </a:p>
        </p:txBody>
      </p:sp>
      <p:sp>
        <p:nvSpPr>
          <p:cNvPr id="8" name="Content Placeholder 2"/>
          <p:cNvSpPr>
            <a:spLocks noGrp="1"/>
          </p:cNvSpPr>
          <p:nvPr>
            <p:ph idx="1"/>
          </p:nvPr>
        </p:nvSpPr>
        <p:spPr>
          <a:xfrm>
            <a:off x="328664" y="1274826"/>
            <a:ext cx="11667744" cy="47132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3"/>
          <p:cNvSpPr>
            <a:spLocks noGrp="1"/>
          </p:cNvSpPr>
          <p:nvPr>
            <p:ph type="title"/>
          </p:nvPr>
        </p:nvSpPr>
        <p:spPr>
          <a:xfrm>
            <a:off x="328664" y="323848"/>
            <a:ext cx="11667744" cy="859536"/>
          </a:xfrm>
        </p:spPr>
        <p:txBody>
          <a:bodyPr/>
          <a:lstStyle/>
          <a:p>
            <a:r>
              <a:rPr lang="en-US"/>
              <a:t>Click to edit Master title style</a:t>
            </a:r>
          </a:p>
        </p:txBody>
      </p:sp>
    </p:spTree>
    <p:extLst>
      <p:ext uri="{BB962C8B-B14F-4D97-AF65-F5344CB8AC3E}">
        <p14:creationId xmlns:p14="http://schemas.microsoft.com/office/powerpoint/2010/main" val="23677573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28664" y="323850"/>
            <a:ext cx="11667744" cy="859536"/>
          </a:xfrm>
        </p:spPr>
        <p:txBody>
          <a:bodyPr/>
          <a:lstStyle/>
          <a:p>
            <a:r>
              <a:rPr lang="en-US"/>
              <a:t>Click to edit Master title style</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9C4343-C115-504A-8D4F-0B17318D4A48}" type="slidenum">
              <a:rPr lang="en-US" smtClean="0"/>
              <a:t>‹#›</a:t>
            </a:fld>
            <a:endParaRPr lang="en-US"/>
          </a:p>
        </p:txBody>
      </p:sp>
      <p:sp>
        <p:nvSpPr>
          <p:cNvPr id="8" name="Content Placeholder 2"/>
          <p:cNvSpPr>
            <a:spLocks noGrp="1"/>
          </p:cNvSpPr>
          <p:nvPr>
            <p:ph idx="13"/>
          </p:nvPr>
        </p:nvSpPr>
        <p:spPr>
          <a:xfrm>
            <a:off x="328662" y="1274826"/>
            <a:ext cx="5699986" cy="4713224"/>
          </a:xfrm>
        </p:spPr>
        <p:txBody>
          <a:bodyPr/>
          <a:lstStyle>
            <a:lvl8pPr>
              <a:defRPr baseline="0"/>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4"/>
          </p:nvPr>
        </p:nvSpPr>
        <p:spPr>
          <a:xfrm>
            <a:off x="6295148" y="1274826"/>
            <a:ext cx="5699986" cy="4713224"/>
          </a:xfrm>
        </p:spPr>
        <p:txBody>
          <a:bodyPr/>
          <a:lstStyle>
            <a:lvl8pPr>
              <a:defRPr baseline="0"/>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70809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s with Caption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8661" y="1274826"/>
            <a:ext cx="5696712" cy="800100"/>
          </a:xfrm>
        </p:spPr>
        <p:txBody>
          <a:bodyPr anchor="t" anchorCtr="0">
            <a:normAutofit/>
          </a:bodyPr>
          <a:lstStyle>
            <a:lvl1pPr marL="0" indent="0">
              <a:buNone/>
              <a:defRPr sz="2198" b="1"/>
            </a:lvl1pPr>
            <a:lvl2pPr marL="457070" indent="0">
              <a:buNone/>
              <a:defRPr sz="1999" b="1"/>
            </a:lvl2pPr>
            <a:lvl3pPr marL="914141" indent="0">
              <a:buNone/>
              <a:defRPr sz="1799" b="1"/>
            </a:lvl3pPr>
            <a:lvl4pPr marL="1371211" indent="0">
              <a:buNone/>
              <a:defRPr sz="1600" b="1"/>
            </a:lvl4pPr>
            <a:lvl5pPr marL="1828282" indent="0">
              <a:buNone/>
              <a:defRPr sz="1600" b="1"/>
            </a:lvl5pPr>
            <a:lvl6pPr marL="2285352" indent="0">
              <a:buNone/>
              <a:defRPr sz="1600" b="1"/>
            </a:lvl6pPr>
            <a:lvl7pPr marL="2742423" indent="0">
              <a:buNone/>
              <a:defRPr sz="1600" b="1"/>
            </a:lvl7pPr>
            <a:lvl8pPr marL="3199493" indent="0">
              <a:buNone/>
              <a:defRPr sz="1600" b="1"/>
            </a:lvl8pPr>
            <a:lvl9pPr marL="3656564" indent="0">
              <a:buNone/>
              <a:defRPr sz="1600" b="1"/>
            </a:lvl9pPr>
          </a:lstStyle>
          <a:p>
            <a:pPr lvl="0"/>
            <a:r>
              <a:rPr lang="en-US"/>
              <a:t>Edit Master text styles</a:t>
            </a:r>
          </a:p>
        </p:txBody>
      </p:sp>
      <p:sp>
        <p:nvSpPr>
          <p:cNvPr id="8" name="Footer Placeholder 7"/>
          <p:cNvSpPr>
            <a:spLocks noGrp="1"/>
          </p:cNvSpPr>
          <p:nvPr>
            <p:ph type="ftr" sz="quarter" idx="11"/>
          </p:nvPr>
        </p:nvSpPr>
        <p:spPr/>
        <p:txBody>
          <a:bodyPr>
            <a:normAutofit/>
          </a:bodyPr>
          <a:lstStyle/>
          <a:p>
            <a:endParaRPr lang="en-US"/>
          </a:p>
        </p:txBody>
      </p:sp>
      <p:sp>
        <p:nvSpPr>
          <p:cNvPr id="9" name="Slide Number Placeholder 8"/>
          <p:cNvSpPr>
            <a:spLocks noGrp="1"/>
          </p:cNvSpPr>
          <p:nvPr>
            <p:ph type="sldNum" sz="quarter" idx="12"/>
          </p:nvPr>
        </p:nvSpPr>
        <p:spPr/>
        <p:txBody>
          <a:bodyPr>
            <a:normAutofit/>
          </a:bodyPr>
          <a:lstStyle/>
          <a:p>
            <a:fld id="{FD9C4343-C115-504A-8D4F-0B17318D4A48}" type="slidenum">
              <a:rPr lang="en-US" smtClean="0"/>
              <a:t>‹#›</a:t>
            </a:fld>
            <a:endParaRPr lang="en-US"/>
          </a:p>
        </p:txBody>
      </p:sp>
      <p:sp>
        <p:nvSpPr>
          <p:cNvPr id="10" name="Title 9"/>
          <p:cNvSpPr>
            <a:spLocks noGrp="1"/>
          </p:cNvSpPr>
          <p:nvPr>
            <p:ph type="title"/>
          </p:nvPr>
        </p:nvSpPr>
        <p:spPr>
          <a:xfrm>
            <a:off x="328664" y="323850"/>
            <a:ext cx="11667744" cy="859536"/>
          </a:xfrm>
        </p:spPr>
        <p:txBody>
          <a:bodyPr>
            <a:normAutofit/>
          </a:bodyPr>
          <a:lstStyle/>
          <a:p>
            <a:r>
              <a:rPr lang="en-US"/>
              <a:t>Click to edit Master title style</a:t>
            </a:r>
          </a:p>
        </p:txBody>
      </p:sp>
      <p:sp>
        <p:nvSpPr>
          <p:cNvPr id="11" name="Content Placeholder 2"/>
          <p:cNvSpPr>
            <a:spLocks noGrp="1"/>
          </p:cNvSpPr>
          <p:nvPr>
            <p:ph idx="13"/>
          </p:nvPr>
        </p:nvSpPr>
        <p:spPr>
          <a:xfrm>
            <a:off x="328661" y="2217798"/>
            <a:ext cx="5696712" cy="377025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p:cNvSpPr>
            <a:spLocks noGrp="1"/>
          </p:cNvSpPr>
          <p:nvPr>
            <p:ph type="body" idx="14"/>
          </p:nvPr>
        </p:nvSpPr>
        <p:spPr>
          <a:xfrm>
            <a:off x="6299692" y="1274826"/>
            <a:ext cx="5696712" cy="800100"/>
          </a:xfrm>
        </p:spPr>
        <p:txBody>
          <a:bodyPr anchor="t" anchorCtr="0">
            <a:normAutofit/>
          </a:bodyPr>
          <a:lstStyle>
            <a:lvl1pPr marL="0" indent="0">
              <a:buNone/>
              <a:defRPr sz="2198" b="1"/>
            </a:lvl1pPr>
            <a:lvl2pPr marL="457070" indent="0">
              <a:buNone/>
              <a:defRPr sz="1999" b="1"/>
            </a:lvl2pPr>
            <a:lvl3pPr marL="914141" indent="0">
              <a:buNone/>
              <a:defRPr sz="1799" b="1"/>
            </a:lvl3pPr>
            <a:lvl4pPr marL="1371211" indent="0">
              <a:buNone/>
              <a:defRPr sz="1600" b="1"/>
            </a:lvl4pPr>
            <a:lvl5pPr marL="1828282" indent="0">
              <a:buNone/>
              <a:defRPr sz="1600" b="1"/>
            </a:lvl5pPr>
            <a:lvl6pPr marL="2285352" indent="0">
              <a:buNone/>
              <a:defRPr sz="1600" b="1"/>
            </a:lvl6pPr>
            <a:lvl7pPr marL="2742423" indent="0">
              <a:buNone/>
              <a:defRPr sz="1600" b="1"/>
            </a:lvl7pPr>
            <a:lvl8pPr marL="3199493" indent="0">
              <a:buNone/>
              <a:defRPr sz="1600" b="1"/>
            </a:lvl8pPr>
            <a:lvl9pPr marL="3656564" indent="0">
              <a:buNone/>
              <a:defRPr sz="1600" b="1"/>
            </a:lvl9pPr>
          </a:lstStyle>
          <a:p>
            <a:pPr lvl="0"/>
            <a:r>
              <a:rPr lang="en-US"/>
              <a:t>Edit Master text styles</a:t>
            </a:r>
          </a:p>
        </p:txBody>
      </p:sp>
      <p:sp>
        <p:nvSpPr>
          <p:cNvPr id="16" name="Content Placeholder 2"/>
          <p:cNvSpPr>
            <a:spLocks noGrp="1"/>
          </p:cNvSpPr>
          <p:nvPr>
            <p:ph idx="15"/>
          </p:nvPr>
        </p:nvSpPr>
        <p:spPr>
          <a:xfrm>
            <a:off x="6299692" y="2217798"/>
            <a:ext cx="5696712" cy="377025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81841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ft Column_Right Two Quadrants">
    <p:spTree>
      <p:nvGrpSpPr>
        <p:cNvPr id="1" name=""/>
        <p:cNvGrpSpPr/>
        <p:nvPr/>
      </p:nvGrpSpPr>
      <p:grpSpPr>
        <a:xfrm>
          <a:off x="0" y="0"/>
          <a:ext cx="0" cy="0"/>
          <a:chOff x="0" y="0"/>
          <a:chExt cx="0" cy="0"/>
        </a:xfrm>
      </p:grpSpPr>
      <p:sp>
        <p:nvSpPr>
          <p:cNvPr id="2" name="Title 1"/>
          <p:cNvSpPr>
            <a:spLocks noGrp="1"/>
          </p:cNvSpPr>
          <p:nvPr>
            <p:ph type="title"/>
          </p:nvPr>
        </p:nvSpPr>
        <p:spPr>
          <a:xfrm>
            <a:off x="328664" y="323850"/>
            <a:ext cx="11667744" cy="859536"/>
          </a:xfrm>
        </p:spPr>
        <p:txBody>
          <a:bodyPr>
            <a:normAutofit/>
          </a:bodyPr>
          <a:lstStyle/>
          <a:p>
            <a:r>
              <a:rPr lang="en-US"/>
              <a:t>Click to edit Master title style</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9C4343-C115-504A-8D4F-0B17318D4A48}" type="slidenum">
              <a:rPr lang="en-US" smtClean="0"/>
              <a:t>‹#›</a:t>
            </a:fld>
            <a:endParaRPr lang="en-US"/>
          </a:p>
        </p:txBody>
      </p:sp>
      <p:sp>
        <p:nvSpPr>
          <p:cNvPr id="8" name="Content Placeholder 2"/>
          <p:cNvSpPr>
            <a:spLocks noGrp="1"/>
          </p:cNvSpPr>
          <p:nvPr>
            <p:ph idx="14"/>
          </p:nvPr>
        </p:nvSpPr>
        <p:spPr>
          <a:xfrm>
            <a:off x="328661" y="1272038"/>
            <a:ext cx="5696712" cy="47160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idx="15"/>
          </p:nvPr>
        </p:nvSpPr>
        <p:spPr>
          <a:xfrm>
            <a:off x="6299692" y="1272029"/>
            <a:ext cx="5696712" cy="22522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299692" y="3740212"/>
            <a:ext cx="5696712" cy="22522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55086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ight Column_Left Two Quadrants">
    <p:spTree>
      <p:nvGrpSpPr>
        <p:cNvPr id="1" name=""/>
        <p:cNvGrpSpPr/>
        <p:nvPr/>
      </p:nvGrpSpPr>
      <p:grpSpPr>
        <a:xfrm>
          <a:off x="0" y="0"/>
          <a:ext cx="0" cy="0"/>
          <a:chOff x="0" y="0"/>
          <a:chExt cx="0" cy="0"/>
        </a:xfrm>
      </p:grpSpPr>
      <p:sp>
        <p:nvSpPr>
          <p:cNvPr id="2" name="Title 1"/>
          <p:cNvSpPr>
            <a:spLocks noGrp="1"/>
          </p:cNvSpPr>
          <p:nvPr>
            <p:ph type="title"/>
          </p:nvPr>
        </p:nvSpPr>
        <p:spPr>
          <a:xfrm>
            <a:off x="328664" y="323851"/>
            <a:ext cx="11667744" cy="859536"/>
          </a:xfrm>
        </p:spPr>
        <p:txBody>
          <a:bodyPr>
            <a:normAutofit/>
          </a:bodyPr>
          <a:lstStyle/>
          <a:p>
            <a:r>
              <a:rPr lang="en-US"/>
              <a:t>Click to edit Master title style</a:t>
            </a:r>
          </a:p>
        </p:txBody>
      </p:sp>
      <p:sp>
        <p:nvSpPr>
          <p:cNvPr id="6" name="Footer Placeholder 5"/>
          <p:cNvSpPr>
            <a:spLocks noGrp="1"/>
          </p:cNvSpPr>
          <p:nvPr>
            <p:ph type="ftr" sz="quarter" idx="11"/>
          </p:nvPr>
        </p:nvSpPr>
        <p:spPr/>
        <p:txBody>
          <a:bodyPr>
            <a:normAutofit/>
          </a:bodyPr>
          <a:lstStyle/>
          <a:p>
            <a:endParaRPr lang="en-US"/>
          </a:p>
        </p:txBody>
      </p:sp>
      <p:sp>
        <p:nvSpPr>
          <p:cNvPr id="7" name="Slide Number Placeholder 6"/>
          <p:cNvSpPr>
            <a:spLocks noGrp="1"/>
          </p:cNvSpPr>
          <p:nvPr>
            <p:ph type="sldNum" sz="quarter" idx="12"/>
          </p:nvPr>
        </p:nvSpPr>
        <p:spPr/>
        <p:txBody>
          <a:bodyPr>
            <a:normAutofit/>
          </a:bodyPr>
          <a:lstStyle/>
          <a:p>
            <a:fld id="{FD9C4343-C115-504A-8D4F-0B17318D4A48}" type="slidenum">
              <a:rPr lang="en-US" smtClean="0"/>
              <a:t>‹#›</a:t>
            </a:fld>
            <a:endParaRPr lang="en-US"/>
          </a:p>
        </p:txBody>
      </p:sp>
      <p:sp>
        <p:nvSpPr>
          <p:cNvPr id="9" name="Content Placeholder 2"/>
          <p:cNvSpPr>
            <a:spLocks noGrp="1"/>
          </p:cNvSpPr>
          <p:nvPr>
            <p:ph idx="14"/>
          </p:nvPr>
        </p:nvSpPr>
        <p:spPr>
          <a:xfrm>
            <a:off x="6299692" y="1272038"/>
            <a:ext cx="5696712" cy="4716021"/>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5"/>
          </p:nvPr>
        </p:nvSpPr>
        <p:spPr>
          <a:xfrm>
            <a:off x="328662" y="1272033"/>
            <a:ext cx="5695949" cy="22522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6"/>
          </p:nvPr>
        </p:nvSpPr>
        <p:spPr>
          <a:xfrm>
            <a:off x="328661" y="3740212"/>
            <a:ext cx="5696712" cy="22522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0438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2" name="Title 1"/>
          <p:cNvSpPr>
            <a:spLocks noGrp="1"/>
          </p:cNvSpPr>
          <p:nvPr>
            <p:ph type="title"/>
          </p:nvPr>
        </p:nvSpPr>
        <p:spPr>
          <a:xfrm>
            <a:off x="328664" y="323851"/>
            <a:ext cx="11667744" cy="859536"/>
          </a:xfrm>
        </p:spPr>
        <p:txBody>
          <a:bodyPr>
            <a:normAutofit/>
          </a:bodyPr>
          <a:lstStyle/>
          <a:p>
            <a:r>
              <a:rPr lang="en-US"/>
              <a:t>Click to edit Master title style</a:t>
            </a:r>
          </a:p>
        </p:txBody>
      </p:sp>
      <p:sp>
        <p:nvSpPr>
          <p:cNvPr id="6" name="Footer Placeholder 5"/>
          <p:cNvSpPr>
            <a:spLocks noGrp="1"/>
          </p:cNvSpPr>
          <p:nvPr>
            <p:ph type="ftr" sz="quarter" idx="11"/>
          </p:nvPr>
        </p:nvSpPr>
        <p:spPr/>
        <p:txBody>
          <a:bodyPr>
            <a:normAutofit/>
          </a:bodyPr>
          <a:lstStyle/>
          <a:p>
            <a:endParaRPr lang="en-US"/>
          </a:p>
        </p:txBody>
      </p:sp>
      <p:sp>
        <p:nvSpPr>
          <p:cNvPr id="7" name="Slide Number Placeholder 6"/>
          <p:cNvSpPr>
            <a:spLocks noGrp="1"/>
          </p:cNvSpPr>
          <p:nvPr>
            <p:ph type="sldNum" sz="quarter" idx="12"/>
          </p:nvPr>
        </p:nvSpPr>
        <p:spPr/>
        <p:txBody>
          <a:bodyPr>
            <a:normAutofit/>
          </a:bodyPr>
          <a:lstStyle/>
          <a:p>
            <a:fld id="{FD9C4343-C115-504A-8D4F-0B17318D4A48}" type="slidenum">
              <a:rPr lang="en-US" smtClean="0"/>
              <a:t>‹#›</a:t>
            </a:fld>
            <a:endParaRPr lang="en-US"/>
          </a:p>
        </p:txBody>
      </p:sp>
      <p:sp>
        <p:nvSpPr>
          <p:cNvPr id="16" name="Content Placeholder 2"/>
          <p:cNvSpPr>
            <a:spLocks noGrp="1"/>
          </p:cNvSpPr>
          <p:nvPr>
            <p:ph idx="15"/>
          </p:nvPr>
        </p:nvSpPr>
        <p:spPr>
          <a:xfrm>
            <a:off x="328661" y="1272029"/>
            <a:ext cx="5696712" cy="22522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p:cNvSpPr>
            <a:spLocks noGrp="1"/>
          </p:cNvSpPr>
          <p:nvPr>
            <p:ph idx="16"/>
          </p:nvPr>
        </p:nvSpPr>
        <p:spPr>
          <a:xfrm>
            <a:off x="328661" y="3740212"/>
            <a:ext cx="5696712" cy="22522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p:cNvSpPr>
            <a:spLocks noGrp="1"/>
          </p:cNvSpPr>
          <p:nvPr>
            <p:ph idx="17"/>
          </p:nvPr>
        </p:nvSpPr>
        <p:spPr>
          <a:xfrm>
            <a:off x="6299692" y="1272029"/>
            <a:ext cx="5696712" cy="22522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idx="18"/>
          </p:nvPr>
        </p:nvSpPr>
        <p:spPr>
          <a:xfrm>
            <a:off x="6299692" y="3740212"/>
            <a:ext cx="5696712" cy="22522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4443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D9C4343-C115-504A-8D4F-0B17318D4A48}" type="slidenum">
              <a:rPr lang="en-US" smtClean="0"/>
              <a:t>‹#›</a:t>
            </a:fld>
            <a:endParaRPr lang="en-US"/>
          </a:p>
        </p:txBody>
      </p:sp>
      <p:sp>
        <p:nvSpPr>
          <p:cNvPr id="3" name="Title 2"/>
          <p:cNvSpPr>
            <a:spLocks noGrp="1"/>
          </p:cNvSpPr>
          <p:nvPr>
            <p:ph type="title"/>
          </p:nvPr>
        </p:nvSpPr>
        <p:spPr>
          <a:xfrm>
            <a:off x="328664" y="323849"/>
            <a:ext cx="11667744" cy="859536"/>
          </a:xfrm>
        </p:spPr>
        <p:txBody>
          <a:bodyPr/>
          <a:lstStyle/>
          <a:p>
            <a:r>
              <a:rPr lang="en-US"/>
              <a:t>Click to edit Master title style</a:t>
            </a:r>
          </a:p>
        </p:txBody>
      </p:sp>
      <p:sp>
        <p:nvSpPr>
          <p:cNvPr id="2" name="Footer Placeholder 1"/>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13466848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FD9C4343-C115-504A-8D4F-0B17318D4A48}" type="slidenum">
              <a:rPr lang="en-US" smtClean="0"/>
              <a:pPr/>
              <a:t>‹#›</a:t>
            </a:fld>
            <a:endParaRPr lang="en-US"/>
          </a:p>
        </p:txBody>
      </p:sp>
      <p:sp>
        <p:nvSpPr>
          <p:cNvPr id="8" name="Content Placeholder 2"/>
          <p:cNvSpPr>
            <a:spLocks noGrp="1"/>
          </p:cNvSpPr>
          <p:nvPr>
            <p:ph idx="1"/>
          </p:nvPr>
        </p:nvSpPr>
        <p:spPr>
          <a:xfrm>
            <a:off x="312801" y="1274826"/>
            <a:ext cx="11667744" cy="47132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3"/>
          <p:cNvSpPr>
            <a:spLocks noGrp="1"/>
          </p:cNvSpPr>
          <p:nvPr>
            <p:ph type="title"/>
          </p:nvPr>
        </p:nvSpPr>
        <p:spPr>
          <a:xfrm>
            <a:off x="312801" y="323848"/>
            <a:ext cx="11667744" cy="859536"/>
          </a:xfrm>
        </p:spPr>
        <p:txBody>
          <a:bodyPr/>
          <a:lstStyle/>
          <a:p>
            <a:r>
              <a:rPr lang="en-US"/>
              <a:t>Click to edit Master title style</a:t>
            </a:r>
          </a:p>
        </p:txBody>
      </p:sp>
    </p:spTree>
    <p:extLst>
      <p:ext uri="{BB962C8B-B14F-4D97-AF65-F5344CB8AC3E}">
        <p14:creationId xmlns:p14="http://schemas.microsoft.com/office/powerpoint/2010/main" val="23677573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D9C4343-C115-504A-8D4F-0B17318D4A48}" type="slidenum">
              <a:rPr lang="en-US" smtClean="0"/>
              <a:t>‹#›</a:t>
            </a:fld>
            <a:endParaRPr lang="en-US"/>
          </a:p>
        </p:txBody>
      </p:sp>
    </p:spTree>
    <p:extLst>
      <p:ext uri="{BB962C8B-B14F-4D97-AF65-F5344CB8AC3E}">
        <p14:creationId xmlns:p14="http://schemas.microsoft.com/office/powerpoint/2010/main" val="35599632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28664" y="323850"/>
            <a:ext cx="4010039" cy="1162050"/>
          </a:xfrm>
        </p:spPr>
        <p:txBody>
          <a:bodyPr anchor="t" anchorCtr="0">
            <a:normAutofit/>
          </a:bodyPr>
          <a:lstStyle>
            <a:lvl1pPr algn="l">
              <a:defRPr sz="1999" b="1"/>
            </a:lvl1pPr>
          </a:lstStyle>
          <a:p>
            <a:r>
              <a:rPr lang="en-US"/>
              <a:t>Click to edit Master title style</a:t>
            </a:r>
          </a:p>
        </p:txBody>
      </p:sp>
      <p:sp>
        <p:nvSpPr>
          <p:cNvPr id="4" name="Text Placeholder 3"/>
          <p:cNvSpPr>
            <a:spLocks noGrp="1"/>
          </p:cNvSpPr>
          <p:nvPr>
            <p:ph type="body" sz="half" idx="2"/>
          </p:nvPr>
        </p:nvSpPr>
        <p:spPr>
          <a:xfrm>
            <a:off x="328664" y="1530351"/>
            <a:ext cx="4010039" cy="4467226"/>
          </a:xfrm>
        </p:spPr>
        <p:txBody>
          <a:bodyPr>
            <a:normAutofit/>
          </a:bodyPr>
          <a:lstStyle>
            <a:lvl1pPr marL="0" indent="0">
              <a:buNone/>
              <a:defRPr sz="1400"/>
            </a:lvl1pPr>
            <a:lvl2pPr marL="457070" indent="0">
              <a:buNone/>
              <a:defRPr sz="1200"/>
            </a:lvl2pPr>
            <a:lvl3pPr marL="914141" indent="0">
              <a:buNone/>
              <a:defRPr sz="1000"/>
            </a:lvl3pPr>
            <a:lvl4pPr marL="1371211" indent="0">
              <a:buNone/>
              <a:defRPr sz="900"/>
            </a:lvl4pPr>
            <a:lvl5pPr marL="1828282" indent="0">
              <a:buNone/>
              <a:defRPr sz="900"/>
            </a:lvl5pPr>
            <a:lvl6pPr marL="2285352" indent="0">
              <a:buNone/>
              <a:defRPr sz="900"/>
            </a:lvl6pPr>
            <a:lvl7pPr marL="2742423" indent="0">
              <a:buNone/>
              <a:defRPr sz="900"/>
            </a:lvl7pPr>
            <a:lvl8pPr marL="3199493" indent="0">
              <a:buNone/>
              <a:defRPr sz="900"/>
            </a:lvl8pPr>
            <a:lvl9pPr marL="3656564" indent="0">
              <a:buNone/>
              <a:defRPr sz="900"/>
            </a:lvl9pPr>
          </a:lstStyle>
          <a:p>
            <a:pPr lvl="0"/>
            <a:r>
              <a:rPr lang="en-US"/>
              <a:t>Edit Master text styles</a:t>
            </a:r>
          </a:p>
        </p:txBody>
      </p:sp>
      <p:sp>
        <p:nvSpPr>
          <p:cNvPr id="6" name="Footer Placeholder 5"/>
          <p:cNvSpPr>
            <a:spLocks noGrp="1"/>
          </p:cNvSpPr>
          <p:nvPr>
            <p:ph type="ftr" sz="quarter" idx="11"/>
          </p:nvPr>
        </p:nvSpPr>
        <p:spPr/>
        <p:txBody>
          <a:bodyPr>
            <a:normAutofit/>
          </a:bodyPr>
          <a:lstStyle/>
          <a:p>
            <a:endParaRPr lang="en-US"/>
          </a:p>
        </p:txBody>
      </p:sp>
      <p:sp>
        <p:nvSpPr>
          <p:cNvPr id="7" name="Slide Number Placeholder 6"/>
          <p:cNvSpPr>
            <a:spLocks noGrp="1"/>
          </p:cNvSpPr>
          <p:nvPr>
            <p:ph type="sldNum" sz="quarter" idx="12"/>
          </p:nvPr>
        </p:nvSpPr>
        <p:spPr/>
        <p:txBody>
          <a:bodyPr>
            <a:normAutofit/>
          </a:bodyPr>
          <a:lstStyle/>
          <a:p>
            <a:fld id="{FD9C4343-C115-504A-8D4F-0B17318D4A48}" type="slidenum">
              <a:rPr lang="en-US" smtClean="0"/>
              <a:t>‹#›</a:t>
            </a:fld>
            <a:endParaRPr lang="en-US"/>
          </a:p>
        </p:txBody>
      </p:sp>
      <p:sp>
        <p:nvSpPr>
          <p:cNvPr id="8" name="Content Placeholder 2"/>
          <p:cNvSpPr>
            <a:spLocks noGrp="1"/>
          </p:cNvSpPr>
          <p:nvPr>
            <p:ph idx="14"/>
          </p:nvPr>
        </p:nvSpPr>
        <p:spPr>
          <a:xfrm>
            <a:off x="4512404" y="323850"/>
            <a:ext cx="7482730" cy="5673726"/>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03308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328664" y="5274404"/>
            <a:ext cx="11667744" cy="723183"/>
          </a:xfrm>
        </p:spPr>
        <p:txBody>
          <a:bodyPr/>
          <a:lstStyle>
            <a:lvl1pPr marL="0" indent="0">
              <a:buNone/>
              <a:defRPr sz="1400"/>
            </a:lvl1pPr>
            <a:lvl2pPr marL="457070" indent="0">
              <a:buNone/>
              <a:defRPr sz="1200"/>
            </a:lvl2pPr>
            <a:lvl3pPr marL="914141" indent="0">
              <a:buNone/>
              <a:defRPr sz="1000"/>
            </a:lvl3pPr>
            <a:lvl4pPr marL="1371211" indent="0">
              <a:buNone/>
              <a:defRPr sz="900"/>
            </a:lvl4pPr>
            <a:lvl5pPr marL="1828282" indent="0">
              <a:buNone/>
              <a:defRPr sz="900"/>
            </a:lvl5pPr>
            <a:lvl6pPr marL="2285352" indent="0">
              <a:buNone/>
              <a:defRPr sz="900"/>
            </a:lvl6pPr>
            <a:lvl7pPr marL="2742423" indent="0">
              <a:buNone/>
              <a:defRPr sz="900"/>
            </a:lvl7pPr>
            <a:lvl8pPr marL="3199493" indent="0">
              <a:buNone/>
              <a:defRPr sz="900"/>
            </a:lvl8pPr>
            <a:lvl9pPr marL="3656564" indent="0">
              <a:buNone/>
              <a:defRPr sz="900"/>
            </a:lvl9pPr>
          </a:lstStyle>
          <a:p>
            <a:pPr lvl="0"/>
            <a:r>
              <a:rPr lang="en-US"/>
              <a:t>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9C4343-C115-504A-8D4F-0B17318D4A48}" type="slidenum">
              <a:rPr lang="en-US" smtClean="0"/>
              <a:t>‹#›</a:t>
            </a:fld>
            <a:endParaRPr lang="en-US"/>
          </a:p>
        </p:txBody>
      </p:sp>
      <p:sp>
        <p:nvSpPr>
          <p:cNvPr id="9" name="Content Placeholder 2"/>
          <p:cNvSpPr>
            <a:spLocks noGrp="1"/>
          </p:cNvSpPr>
          <p:nvPr>
            <p:ph idx="1"/>
          </p:nvPr>
        </p:nvSpPr>
        <p:spPr>
          <a:xfrm>
            <a:off x="328662" y="1274838"/>
            <a:ext cx="11667744" cy="39002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3"/>
          <p:cNvSpPr>
            <a:spLocks noGrp="1"/>
          </p:cNvSpPr>
          <p:nvPr>
            <p:ph type="title"/>
          </p:nvPr>
        </p:nvSpPr>
        <p:spPr>
          <a:xfrm>
            <a:off x="328662" y="323848"/>
            <a:ext cx="11667744" cy="859536"/>
          </a:xfrm>
        </p:spPr>
        <p:txBody>
          <a:bodyPr/>
          <a:lstStyle/>
          <a:p>
            <a:r>
              <a:rPr lang="en-US"/>
              <a:t>Click to edit Master title style</a:t>
            </a:r>
          </a:p>
        </p:txBody>
      </p:sp>
    </p:spTree>
    <p:extLst>
      <p:ext uri="{BB962C8B-B14F-4D97-AF65-F5344CB8AC3E}">
        <p14:creationId xmlns:p14="http://schemas.microsoft.com/office/powerpoint/2010/main" val="30104056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2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C602143-C257-4223-9762-B5D01CB7EE1C}" type="slidenum">
              <a:rPr lang="en-US" altLang="en-US"/>
              <a:pPr>
                <a:defRPr/>
              </a:pPr>
              <a:t>‹#›</a:t>
            </a:fld>
            <a:endParaRPr lang="en-US" altLang="en-US"/>
          </a:p>
        </p:txBody>
      </p:sp>
    </p:spTree>
    <p:extLst>
      <p:ext uri="{BB962C8B-B14F-4D97-AF65-F5344CB8AC3E}">
        <p14:creationId xmlns:p14="http://schemas.microsoft.com/office/powerpoint/2010/main" val="1344412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Ending Slide">
    <p:spTree>
      <p:nvGrpSpPr>
        <p:cNvPr id="1" name=""/>
        <p:cNvGrpSpPr/>
        <p:nvPr/>
      </p:nvGrpSpPr>
      <p:grpSpPr>
        <a:xfrm>
          <a:off x="0" y="0"/>
          <a:ext cx="0" cy="0"/>
          <a:chOff x="0" y="0"/>
          <a:chExt cx="0" cy="0"/>
        </a:xfrm>
      </p:grpSpPr>
      <p:sp>
        <p:nvSpPr>
          <p:cNvPr id="2" name="Rectangle 1"/>
          <p:cNvSpPr/>
          <p:nvPr userDrawn="1"/>
        </p:nvSpPr>
        <p:spPr>
          <a:xfrm>
            <a:off x="10837162" y="6073142"/>
            <a:ext cx="1096830" cy="71554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9122734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12801" y="323850"/>
            <a:ext cx="11667744" cy="859536"/>
          </a:xfrm>
        </p:spPr>
        <p:txBody>
          <a:bodyPr/>
          <a:lstStyle/>
          <a:p>
            <a:r>
              <a:rPr lang="en-US"/>
              <a:t>Click to edit Master title style</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9C4343-C115-504A-8D4F-0B17318D4A48}" type="slidenum">
              <a:rPr lang="en-US" smtClean="0"/>
              <a:t>‹#›</a:t>
            </a:fld>
            <a:endParaRPr lang="en-US"/>
          </a:p>
        </p:txBody>
      </p:sp>
      <p:sp>
        <p:nvSpPr>
          <p:cNvPr id="8" name="Content Placeholder 2"/>
          <p:cNvSpPr>
            <a:spLocks noGrp="1"/>
          </p:cNvSpPr>
          <p:nvPr>
            <p:ph idx="13"/>
          </p:nvPr>
        </p:nvSpPr>
        <p:spPr>
          <a:xfrm>
            <a:off x="312801" y="1274826"/>
            <a:ext cx="5699986" cy="4713224"/>
          </a:xfrm>
        </p:spPr>
        <p:txBody>
          <a:bodyPr/>
          <a:lstStyle>
            <a:lvl8pPr>
              <a:defRPr baseline="0"/>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4"/>
          </p:nvPr>
        </p:nvSpPr>
        <p:spPr>
          <a:xfrm>
            <a:off x="6279289" y="1274826"/>
            <a:ext cx="5699986" cy="4713224"/>
          </a:xfrm>
        </p:spPr>
        <p:txBody>
          <a:bodyPr/>
          <a:lstStyle>
            <a:lvl8pPr>
              <a:defRPr baseline="0"/>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7080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with Caption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12801" y="1274826"/>
            <a:ext cx="5696712" cy="800100"/>
          </a:xfrm>
        </p:spPr>
        <p:txBody>
          <a:bodyPr anchor="t" anchorCtr="0">
            <a:normAutofit/>
          </a:bodyPr>
          <a:lstStyle>
            <a:lvl1pPr marL="0" indent="0">
              <a:buNone/>
              <a:defRPr sz="2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Footer Placeholder 7"/>
          <p:cNvSpPr>
            <a:spLocks noGrp="1"/>
          </p:cNvSpPr>
          <p:nvPr>
            <p:ph type="ftr" sz="quarter" idx="11"/>
          </p:nvPr>
        </p:nvSpPr>
        <p:spPr/>
        <p:txBody>
          <a:bodyPr>
            <a:normAutofit/>
          </a:bodyPr>
          <a:lstStyle/>
          <a:p>
            <a:endParaRPr lang="en-US"/>
          </a:p>
        </p:txBody>
      </p:sp>
      <p:sp>
        <p:nvSpPr>
          <p:cNvPr id="9" name="Slide Number Placeholder 8"/>
          <p:cNvSpPr>
            <a:spLocks noGrp="1"/>
          </p:cNvSpPr>
          <p:nvPr>
            <p:ph type="sldNum" sz="quarter" idx="12"/>
          </p:nvPr>
        </p:nvSpPr>
        <p:spPr/>
        <p:txBody>
          <a:bodyPr>
            <a:normAutofit/>
          </a:bodyPr>
          <a:lstStyle/>
          <a:p>
            <a:fld id="{FD9C4343-C115-504A-8D4F-0B17318D4A48}" type="slidenum">
              <a:rPr lang="en-US" smtClean="0"/>
              <a:t>‹#›</a:t>
            </a:fld>
            <a:endParaRPr lang="en-US"/>
          </a:p>
        </p:txBody>
      </p:sp>
      <p:sp>
        <p:nvSpPr>
          <p:cNvPr id="10" name="Title 9"/>
          <p:cNvSpPr>
            <a:spLocks noGrp="1"/>
          </p:cNvSpPr>
          <p:nvPr>
            <p:ph type="title"/>
          </p:nvPr>
        </p:nvSpPr>
        <p:spPr>
          <a:xfrm>
            <a:off x="312801" y="323850"/>
            <a:ext cx="11667744" cy="859536"/>
          </a:xfrm>
        </p:spPr>
        <p:txBody>
          <a:bodyPr>
            <a:normAutofit/>
          </a:bodyPr>
          <a:lstStyle/>
          <a:p>
            <a:r>
              <a:rPr lang="en-US"/>
              <a:t>Click to edit Master title style</a:t>
            </a:r>
          </a:p>
        </p:txBody>
      </p:sp>
      <p:sp>
        <p:nvSpPr>
          <p:cNvPr id="11" name="Content Placeholder 2"/>
          <p:cNvSpPr>
            <a:spLocks noGrp="1"/>
          </p:cNvSpPr>
          <p:nvPr>
            <p:ph idx="13"/>
          </p:nvPr>
        </p:nvSpPr>
        <p:spPr>
          <a:xfrm>
            <a:off x="312801" y="2217798"/>
            <a:ext cx="5696712" cy="377025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p:cNvSpPr>
            <a:spLocks noGrp="1"/>
          </p:cNvSpPr>
          <p:nvPr>
            <p:ph type="body" idx="14"/>
          </p:nvPr>
        </p:nvSpPr>
        <p:spPr>
          <a:xfrm>
            <a:off x="6283833" y="1274826"/>
            <a:ext cx="5696712" cy="800100"/>
          </a:xfrm>
        </p:spPr>
        <p:txBody>
          <a:bodyPr anchor="t" anchorCtr="0">
            <a:normAutofit/>
          </a:bodyPr>
          <a:lstStyle>
            <a:lvl1pPr marL="0" indent="0">
              <a:buNone/>
              <a:defRPr sz="2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p:cNvSpPr>
            <a:spLocks noGrp="1"/>
          </p:cNvSpPr>
          <p:nvPr>
            <p:ph idx="15"/>
          </p:nvPr>
        </p:nvSpPr>
        <p:spPr>
          <a:xfrm>
            <a:off x="6283833" y="2217798"/>
            <a:ext cx="5696712" cy="377025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8184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 Column_Right Two Quadrants">
    <p:spTree>
      <p:nvGrpSpPr>
        <p:cNvPr id="1" name=""/>
        <p:cNvGrpSpPr/>
        <p:nvPr/>
      </p:nvGrpSpPr>
      <p:grpSpPr>
        <a:xfrm>
          <a:off x="0" y="0"/>
          <a:ext cx="0" cy="0"/>
          <a:chOff x="0" y="0"/>
          <a:chExt cx="0" cy="0"/>
        </a:xfrm>
      </p:grpSpPr>
      <p:sp>
        <p:nvSpPr>
          <p:cNvPr id="2" name="Title 1"/>
          <p:cNvSpPr>
            <a:spLocks noGrp="1"/>
          </p:cNvSpPr>
          <p:nvPr>
            <p:ph type="title"/>
          </p:nvPr>
        </p:nvSpPr>
        <p:spPr>
          <a:xfrm>
            <a:off x="312801" y="323850"/>
            <a:ext cx="11667744" cy="859536"/>
          </a:xfrm>
        </p:spPr>
        <p:txBody>
          <a:bodyPr>
            <a:normAutofit/>
          </a:bodyPr>
          <a:lstStyle/>
          <a:p>
            <a:r>
              <a:rPr lang="en-US"/>
              <a:t>Click to edit Master title style</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9C4343-C115-504A-8D4F-0B17318D4A48}" type="slidenum">
              <a:rPr lang="en-US" smtClean="0"/>
              <a:t>‹#›</a:t>
            </a:fld>
            <a:endParaRPr lang="en-US"/>
          </a:p>
        </p:txBody>
      </p:sp>
      <p:sp>
        <p:nvSpPr>
          <p:cNvPr id="8" name="Content Placeholder 2"/>
          <p:cNvSpPr>
            <a:spLocks noGrp="1"/>
          </p:cNvSpPr>
          <p:nvPr>
            <p:ph idx="14"/>
          </p:nvPr>
        </p:nvSpPr>
        <p:spPr>
          <a:xfrm>
            <a:off x="312801" y="1272033"/>
            <a:ext cx="5696712" cy="47160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idx="15"/>
          </p:nvPr>
        </p:nvSpPr>
        <p:spPr>
          <a:xfrm>
            <a:off x="6283833" y="1272029"/>
            <a:ext cx="5696712" cy="22522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283833" y="3740212"/>
            <a:ext cx="5696712" cy="22522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5508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ight Column_Left Two Quadrants">
    <p:spTree>
      <p:nvGrpSpPr>
        <p:cNvPr id="1" name=""/>
        <p:cNvGrpSpPr/>
        <p:nvPr/>
      </p:nvGrpSpPr>
      <p:grpSpPr>
        <a:xfrm>
          <a:off x="0" y="0"/>
          <a:ext cx="0" cy="0"/>
          <a:chOff x="0" y="0"/>
          <a:chExt cx="0" cy="0"/>
        </a:xfrm>
      </p:grpSpPr>
      <p:sp>
        <p:nvSpPr>
          <p:cNvPr id="2" name="Title 1"/>
          <p:cNvSpPr>
            <a:spLocks noGrp="1"/>
          </p:cNvSpPr>
          <p:nvPr>
            <p:ph type="title"/>
          </p:nvPr>
        </p:nvSpPr>
        <p:spPr>
          <a:xfrm>
            <a:off x="312801" y="323851"/>
            <a:ext cx="11667744" cy="859536"/>
          </a:xfrm>
        </p:spPr>
        <p:txBody>
          <a:bodyPr>
            <a:normAutofit/>
          </a:bodyPr>
          <a:lstStyle/>
          <a:p>
            <a:r>
              <a:rPr lang="en-US"/>
              <a:t>Click to edit Master title style</a:t>
            </a:r>
          </a:p>
        </p:txBody>
      </p:sp>
      <p:sp>
        <p:nvSpPr>
          <p:cNvPr id="6" name="Footer Placeholder 5"/>
          <p:cNvSpPr>
            <a:spLocks noGrp="1"/>
          </p:cNvSpPr>
          <p:nvPr>
            <p:ph type="ftr" sz="quarter" idx="11"/>
          </p:nvPr>
        </p:nvSpPr>
        <p:spPr/>
        <p:txBody>
          <a:bodyPr>
            <a:normAutofit/>
          </a:bodyPr>
          <a:lstStyle/>
          <a:p>
            <a:endParaRPr lang="en-US"/>
          </a:p>
        </p:txBody>
      </p:sp>
      <p:sp>
        <p:nvSpPr>
          <p:cNvPr id="7" name="Slide Number Placeholder 6"/>
          <p:cNvSpPr>
            <a:spLocks noGrp="1"/>
          </p:cNvSpPr>
          <p:nvPr>
            <p:ph type="sldNum" sz="quarter" idx="12"/>
          </p:nvPr>
        </p:nvSpPr>
        <p:spPr/>
        <p:txBody>
          <a:bodyPr>
            <a:normAutofit/>
          </a:bodyPr>
          <a:lstStyle/>
          <a:p>
            <a:fld id="{FD9C4343-C115-504A-8D4F-0B17318D4A48}" type="slidenum">
              <a:rPr lang="en-US" smtClean="0"/>
              <a:t>‹#›</a:t>
            </a:fld>
            <a:endParaRPr lang="en-US"/>
          </a:p>
        </p:txBody>
      </p:sp>
      <p:sp>
        <p:nvSpPr>
          <p:cNvPr id="9" name="Content Placeholder 2"/>
          <p:cNvSpPr>
            <a:spLocks noGrp="1"/>
          </p:cNvSpPr>
          <p:nvPr>
            <p:ph idx="14"/>
          </p:nvPr>
        </p:nvSpPr>
        <p:spPr>
          <a:xfrm>
            <a:off x="6283833" y="1272033"/>
            <a:ext cx="5696712" cy="4716021"/>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5"/>
          </p:nvPr>
        </p:nvSpPr>
        <p:spPr>
          <a:xfrm>
            <a:off x="312801" y="1272033"/>
            <a:ext cx="5695950" cy="22522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6"/>
          </p:nvPr>
        </p:nvSpPr>
        <p:spPr>
          <a:xfrm>
            <a:off x="312801" y="3740212"/>
            <a:ext cx="5696712" cy="22522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043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2" name="Title 1"/>
          <p:cNvSpPr>
            <a:spLocks noGrp="1"/>
          </p:cNvSpPr>
          <p:nvPr>
            <p:ph type="title"/>
          </p:nvPr>
        </p:nvSpPr>
        <p:spPr>
          <a:xfrm>
            <a:off x="312801" y="323851"/>
            <a:ext cx="11667744" cy="859536"/>
          </a:xfrm>
        </p:spPr>
        <p:txBody>
          <a:bodyPr>
            <a:normAutofit/>
          </a:bodyPr>
          <a:lstStyle/>
          <a:p>
            <a:r>
              <a:rPr lang="en-US"/>
              <a:t>Click to edit Master title style</a:t>
            </a:r>
          </a:p>
        </p:txBody>
      </p:sp>
      <p:sp>
        <p:nvSpPr>
          <p:cNvPr id="6" name="Footer Placeholder 5"/>
          <p:cNvSpPr>
            <a:spLocks noGrp="1"/>
          </p:cNvSpPr>
          <p:nvPr>
            <p:ph type="ftr" sz="quarter" idx="11"/>
          </p:nvPr>
        </p:nvSpPr>
        <p:spPr/>
        <p:txBody>
          <a:bodyPr>
            <a:normAutofit/>
          </a:bodyPr>
          <a:lstStyle/>
          <a:p>
            <a:endParaRPr lang="en-US"/>
          </a:p>
        </p:txBody>
      </p:sp>
      <p:sp>
        <p:nvSpPr>
          <p:cNvPr id="7" name="Slide Number Placeholder 6"/>
          <p:cNvSpPr>
            <a:spLocks noGrp="1"/>
          </p:cNvSpPr>
          <p:nvPr>
            <p:ph type="sldNum" sz="quarter" idx="12"/>
          </p:nvPr>
        </p:nvSpPr>
        <p:spPr/>
        <p:txBody>
          <a:bodyPr>
            <a:normAutofit/>
          </a:bodyPr>
          <a:lstStyle/>
          <a:p>
            <a:fld id="{FD9C4343-C115-504A-8D4F-0B17318D4A48}" type="slidenum">
              <a:rPr lang="en-US" smtClean="0"/>
              <a:t>‹#›</a:t>
            </a:fld>
            <a:endParaRPr lang="en-US"/>
          </a:p>
        </p:txBody>
      </p:sp>
      <p:sp>
        <p:nvSpPr>
          <p:cNvPr id="16" name="Content Placeholder 2"/>
          <p:cNvSpPr>
            <a:spLocks noGrp="1"/>
          </p:cNvSpPr>
          <p:nvPr>
            <p:ph idx="15"/>
          </p:nvPr>
        </p:nvSpPr>
        <p:spPr>
          <a:xfrm>
            <a:off x="312801" y="1272029"/>
            <a:ext cx="5696712" cy="22522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p:cNvSpPr>
            <a:spLocks noGrp="1"/>
          </p:cNvSpPr>
          <p:nvPr>
            <p:ph idx="16"/>
          </p:nvPr>
        </p:nvSpPr>
        <p:spPr>
          <a:xfrm>
            <a:off x="312801" y="3740212"/>
            <a:ext cx="5696712" cy="22522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p:cNvSpPr>
            <a:spLocks noGrp="1"/>
          </p:cNvSpPr>
          <p:nvPr>
            <p:ph idx="17"/>
          </p:nvPr>
        </p:nvSpPr>
        <p:spPr>
          <a:xfrm>
            <a:off x="6283833" y="1272029"/>
            <a:ext cx="5696712" cy="22522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idx="18"/>
          </p:nvPr>
        </p:nvSpPr>
        <p:spPr>
          <a:xfrm>
            <a:off x="6283833" y="3740212"/>
            <a:ext cx="5696712" cy="22522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4443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2801" y="323849"/>
            <a:ext cx="11671300" cy="859536"/>
          </a:xfrm>
          <a:prstGeom prst="rect">
            <a:avLst/>
          </a:prstGeom>
        </p:spPr>
        <p:txBody>
          <a:bodyPr vert="horz" lIns="0" tIns="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12801" y="1274825"/>
            <a:ext cx="11671300" cy="470916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763612" y="6496406"/>
            <a:ext cx="9458086" cy="172221"/>
          </a:xfrm>
          <a:prstGeom prst="rect">
            <a:avLst/>
          </a:prstGeom>
        </p:spPr>
        <p:txBody>
          <a:bodyPr vert="horz" lIns="0" tIns="0" rIns="0" bIns="0" rtlCol="0" anchor="t" anchorCtr="0">
            <a:normAutofit/>
          </a:bodyPr>
          <a:lstStyle>
            <a:lvl1pPr algn="l">
              <a:defRPr sz="1000">
                <a:solidFill>
                  <a:schemeClr val="tx2"/>
                </a:solidFill>
                <a:latin typeface="+mn-lt"/>
                <a:cs typeface="Arial"/>
              </a:defRPr>
            </a:lvl1pPr>
          </a:lstStyle>
          <a:p>
            <a:endParaRPr lang="en-US"/>
          </a:p>
        </p:txBody>
      </p:sp>
      <p:sp>
        <p:nvSpPr>
          <p:cNvPr id="6" name="Slide Number Placeholder 5"/>
          <p:cNvSpPr>
            <a:spLocks noGrp="1"/>
          </p:cNvSpPr>
          <p:nvPr>
            <p:ph type="sldNum" sz="quarter" idx="4"/>
          </p:nvPr>
        </p:nvSpPr>
        <p:spPr>
          <a:xfrm>
            <a:off x="307975" y="6496406"/>
            <a:ext cx="455637" cy="172221"/>
          </a:xfrm>
          <a:prstGeom prst="rect">
            <a:avLst/>
          </a:prstGeom>
        </p:spPr>
        <p:txBody>
          <a:bodyPr vert="horz" lIns="0" tIns="0" rIns="0" bIns="0" rtlCol="0" anchor="t" anchorCtr="0">
            <a:normAutofit/>
          </a:bodyPr>
          <a:lstStyle>
            <a:lvl1pPr algn="l">
              <a:defRPr sz="1000">
                <a:solidFill>
                  <a:schemeClr val="tx2"/>
                </a:solidFill>
                <a:latin typeface="+mn-lt"/>
                <a:cs typeface="Arial"/>
              </a:defRPr>
            </a:lvl1pPr>
          </a:lstStyle>
          <a:p>
            <a:fld id="{FD9C4343-C115-504A-8D4F-0B17318D4A48}" type="slidenum">
              <a:rPr lang="en-US" smtClean="0"/>
              <a:pPr/>
              <a:t>‹#›</a:t>
            </a:fld>
            <a:endParaRPr lang="en-US"/>
          </a:p>
        </p:txBody>
      </p:sp>
      <p:sp>
        <p:nvSpPr>
          <p:cNvPr id="9" name="Rectangle 8">
            <a:extLst>
              <a:ext uri="{FF2B5EF4-FFF2-40B4-BE49-F238E27FC236}">
                <a16:creationId xmlns:a16="http://schemas.microsoft.com/office/drawing/2014/main" id="{9E7786CA-9D4A-449E-95F6-63083A873C90}"/>
              </a:ext>
            </a:extLst>
          </p:cNvPr>
          <p:cNvSpPr/>
          <p:nvPr userDrawn="1"/>
        </p:nvSpPr>
        <p:spPr>
          <a:xfrm>
            <a:off x="7781977" y="2798"/>
            <a:ext cx="4410023" cy="17090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1" name="Group 10">
            <a:extLst>
              <a:ext uri="{FF2B5EF4-FFF2-40B4-BE49-F238E27FC236}">
                <a16:creationId xmlns:a16="http://schemas.microsoft.com/office/drawing/2014/main" id="{86DF60A6-FF84-49B6-8FFA-04E9681C561F}"/>
              </a:ext>
            </a:extLst>
          </p:cNvPr>
          <p:cNvGrpSpPr/>
          <p:nvPr userDrawn="1"/>
        </p:nvGrpSpPr>
        <p:grpSpPr>
          <a:xfrm>
            <a:off x="1" y="-3332"/>
            <a:ext cx="8108232" cy="177031"/>
            <a:chOff x="1" y="-3332"/>
            <a:chExt cx="8108232" cy="177031"/>
          </a:xfrm>
        </p:grpSpPr>
        <p:sp>
          <p:nvSpPr>
            <p:cNvPr id="13" name="Rectangle 12">
              <a:extLst>
                <a:ext uri="{FF2B5EF4-FFF2-40B4-BE49-F238E27FC236}">
                  <a16:creationId xmlns:a16="http://schemas.microsoft.com/office/drawing/2014/main" id="{886563E0-E895-4DB1-A89E-A0EECF56B132}"/>
                </a:ext>
              </a:extLst>
            </p:cNvPr>
            <p:cNvSpPr/>
            <p:nvPr userDrawn="1"/>
          </p:nvSpPr>
          <p:spPr>
            <a:xfrm>
              <a:off x="1" y="-3332"/>
              <a:ext cx="7931202" cy="17703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ight Triangle 14">
              <a:extLst>
                <a:ext uri="{FF2B5EF4-FFF2-40B4-BE49-F238E27FC236}">
                  <a16:creationId xmlns:a16="http://schemas.microsoft.com/office/drawing/2014/main" id="{13A9B5EF-DAC3-43C9-AF15-3B02795D58AA}"/>
                </a:ext>
              </a:extLst>
            </p:cNvPr>
            <p:cNvSpPr/>
            <p:nvPr userDrawn="1"/>
          </p:nvSpPr>
          <p:spPr>
            <a:xfrm flipV="1">
              <a:off x="7931202" y="-3332"/>
              <a:ext cx="177031" cy="177031"/>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5FB9184E-77F0-42DF-A38F-F48305F79489}"/>
              </a:ext>
            </a:extLst>
          </p:cNvPr>
          <p:cNvGrpSpPr/>
          <p:nvPr userDrawn="1"/>
        </p:nvGrpSpPr>
        <p:grpSpPr>
          <a:xfrm>
            <a:off x="11267231" y="6148330"/>
            <a:ext cx="664418" cy="525190"/>
            <a:chOff x="10850888" y="5174158"/>
            <a:chExt cx="664418" cy="525190"/>
          </a:xfrm>
        </p:grpSpPr>
        <p:sp>
          <p:nvSpPr>
            <p:cNvPr id="17" name="Freeform: Shape 16">
              <a:extLst>
                <a:ext uri="{FF2B5EF4-FFF2-40B4-BE49-F238E27FC236}">
                  <a16:creationId xmlns:a16="http://schemas.microsoft.com/office/drawing/2014/main" id="{800B2BF8-22B6-4099-8FD8-BC047446C560}"/>
                </a:ext>
              </a:extLst>
            </p:cNvPr>
            <p:cNvSpPr/>
            <p:nvPr/>
          </p:nvSpPr>
          <p:spPr>
            <a:xfrm>
              <a:off x="10850888" y="5174158"/>
              <a:ext cx="664418" cy="525190"/>
            </a:xfrm>
            <a:custGeom>
              <a:avLst/>
              <a:gdLst>
                <a:gd name="connsiteX0" fmla="*/ 538546 w 664418"/>
                <a:gd name="connsiteY0" fmla="*/ 525191 h 525190"/>
                <a:gd name="connsiteX1" fmla="*/ 125872 w 664418"/>
                <a:gd name="connsiteY1" fmla="*/ 525191 h 525190"/>
                <a:gd name="connsiteX2" fmla="*/ 0 w 664418"/>
                <a:gd name="connsiteY2" fmla="*/ 399319 h 525190"/>
                <a:gd name="connsiteX3" fmla="*/ 0 w 664418"/>
                <a:gd name="connsiteY3" fmla="*/ 125872 h 525190"/>
                <a:gd name="connsiteX4" fmla="*/ 125872 w 664418"/>
                <a:gd name="connsiteY4" fmla="*/ 0 h 525190"/>
                <a:gd name="connsiteX5" fmla="*/ 538546 w 664418"/>
                <a:gd name="connsiteY5" fmla="*/ 0 h 525190"/>
                <a:gd name="connsiteX6" fmla="*/ 664418 w 664418"/>
                <a:gd name="connsiteY6" fmla="*/ 125872 h 525190"/>
                <a:gd name="connsiteX7" fmla="*/ 664418 w 664418"/>
                <a:gd name="connsiteY7" fmla="*/ 399319 h 525190"/>
                <a:gd name="connsiteX8" fmla="*/ 538546 w 664418"/>
                <a:gd name="connsiteY8" fmla="*/ 525191 h 52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418" h="525190">
                  <a:moveTo>
                    <a:pt x="538546" y="525191"/>
                  </a:moveTo>
                  <a:lnTo>
                    <a:pt x="125872" y="525191"/>
                  </a:lnTo>
                  <a:cubicBezTo>
                    <a:pt x="56425" y="525191"/>
                    <a:pt x="0" y="468765"/>
                    <a:pt x="0" y="399319"/>
                  </a:cubicBezTo>
                  <a:lnTo>
                    <a:pt x="0" y="125872"/>
                  </a:lnTo>
                  <a:cubicBezTo>
                    <a:pt x="0" y="56425"/>
                    <a:pt x="56425" y="0"/>
                    <a:pt x="125872" y="0"/>
                  </a:cubicBezTo>
                  <a:lnTo>
                    <a:pt x="538546" y="0"/>
                  </a:lnTo>
                  <a:cubicBezTo>
                    <a:pt x="607993" y="0"/>
                    <a:pt x="664418" y="56425"/>
                    <a:pt x="664418" y="125872"/>
                  </a:cubicBezTo>
                  <a:lnTo>
                    <a:pt x="664418" y="399319"/>
                  </a:lnTo>
                  <a:cubicBezTo>
                    <a:pt x="664418" y="468765"/>
                    <a:pt x="607993" y="525191"/>
                    <a:pt x="538546" y="525191"/>
                  </a:cubicBezTo>
                  <a:close/>
                </a:path>
              </a:pathLst>
            </a:custGeom>
            <a:solidFill>
              <a:srgbClr val="FFFFFF"/>
            </a:solidFill>
            <a:ln w="3303"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4D46D0A1-DFAF-493D-A018-39D447353FDC}"/>
                </a:ext>
              </a:extLst>
            </p:cNvPr>
            <p:cNvSpPr/>
            <p:nvPr/>
          </p:nvSpPr>
          <p:spPr>
            <a:xfrm>
              <a:off x="10873257" y="5196527"/>
              <a:ext cx="619680" cy="480450"/>
            </a:xfrm>
            <a:custGeom>
              <a:avLst/>
              <a:gdLst>
                <a:gd name="connsiteX0" fmla="*/ 516176 w 619680"/>
                <a:gd name="connsiteY0" fmla="*/ 480451 h 480450"/>
                <a:gd name="connsiteX1" fmla="*/ 103502 w 619680"/>
                <a:gd name="connsiteY1" fmla="*/ 480451 h 480450"/>
                <a:gd name="connsiteX2" fmla="*/ 0 w 619680"/>
                <a:gd name="connsiteY2" fmla="*/ 376949 h 480450"/>
                <a:gd name="connsiteX3" fmla="*/ 0 w 619680"/>
                <a:gd name="connsiteY3" fmla="*/ 103502 h 480450"/>
                <a:gd name="connsiteX4" fmla="*/ 103502 w 619680"/>
                <a:gd name="connsiteY4" fmla="*/ 0 h 480450"/>
                <a:gd name="connsiteX5" fmla="*/ 516176 w 619680"/>
                <a:gd name="connsiteY5" fmla="*/ 0 h 480450"/>
                <a:gd name="connsiteX6" fmla="*/ 619678 w 619680"/>
                <a:gd name="connsiteY6" fmla="*/ 103502 h 480450"/>
                <a:gd name="connsiteX7" fmla="*/ 619678 w 619680"/>
                <a:gd name="connsiteY7" fmla="*/ 376949 h 480450"/>
                <a:gd name="connsiteX8" fmla="*/ 516176 w 619680"/>
                <a:gd name="connsiteY8" fmla="*/ 480451 h 4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680" h="480450">
                  <a:moveTo>
                    <a:pt x="516176" y="480451"/>
                  </a:moveTo>
                  <a:lnTo>
                    <a:pt x="103502" y="480451"/>
                  </a:lnTo>
                  <a:cubicBezTo>
                    <a:pt x="46409" y="480451"/>
                    <a:pt x="0" y="433708"/>
                    <a:pt x="0" y="376949"/>
                  </a:cubicBezTo>
                  <a:lnTo>
                    <a:pt x="0" y="103502"/>
                  </a:lnTo>
                  <a:cubicBezTo>
                    <a:pt x="0" y="46409"/>
                    <a:pt x="46743" y="0"/>
                    <a:pt x="103502" y="0"/>
                  </a:cubicBezTo>
                  <a:lnTo>
                    <a:pt x="516176" y="0"/>
                  </a:lnTo>
                  <a:cubicBezTo>
                    <a:pt x="573269" y="0"/>
                    <a:pt x="619678" y="46743"/>
                    <a:pt x="619678" y="103502"/>
                  </a:cubicBezTo>
                  <a:lnTo>
                    <a:pt x="619678" y="376949"/>
                  </a:lnTo>
                  <a:cubicBezTo>
                    <a:pt x="620012" y="434042"/>
                    <a:pt x="573269" y="480451"/>
                    <a:pt x="516176" y="480451"/>
                  </a:cubicBezTo>
                  <a:close/>
                </a:path>
              </a:pathLst>
            </a:custGeom>
            <a:solidFill>
              <a:srgbClr val="0078A9"/>
            </a:solidFill>
            <a:ln w="3303"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9BB2910A-8040-4959-BF62-4BD1A45AAB21}"/>
                </a:ext>
              </a:extLst>
            </p:cNvPr>
            <p:cNvSpPr/>
            <p:nvPr/>
          </p:nvSpPr>
          <p:spPr>
            <a:xfrm>
              <a:off x="10902639" y="5239677"/>
              <a:ext cx="561249" cy="393229"/>
            </a:xfrm>
            <a:custGeom>
              <a:avLst/>
              <a:gdLst>
                <a:gd name="connsiteX0" fmla="*/ 491135 w 561249"/>
                <a:gd name="connsiteY0" fmla="*/ 113106 h 393229"/>
                <a:gd name="connsiteX1" fmla="*/ 561250 w 561249"/>
                <a:gd name="connsiteY1" fmla="*/ 129800 h 393229"/>
                <a:gd name="connsiteX2" fmla="*/ 561250 w 561249"/>
                <a:gd name="connsiteY2" fmla="*/ 76379 h 393229"/>
                <a:gd name="connsiteX3" fmla="*/ 437047 w 561249"/>
                <a:gd name="connsiteY3" fmla="*/ 89066 h 393229"/>
                <a:gd name="connsiteX4" fmla="*/ 407332 w 561249"/>
                <a:gd name="connsiteY4" fmla="*/ 120785 h 393229"/>
                <a:gd name="connsiteX5" fmla="*/ 405996 w 561249"/>
                <a:gd name="connsiteY5" fmla="*/ 123456 h 393229"/>
                <a:gd name="connsiteX6" fmla="*/ 221695 w 561249"/>
                <a:gd name="connsiteY6" fmla="*/ 255 h 393229"/>
                <a:gd name="connsiteX7" fmla="*/ 166271 w 561249"/>
                <a:gd name="connsiteY7" fmla="*/ 255 h 393229"/>
                <a:gd name="connsiteX8" fmla="*/ 166271 w 561249"/>
                <a:gd name="connsiteY8" fmla="*/ 116445 h 393229"/>
                <a:gd name="connsiteX9" fmla="*/ 45407 w 561249"/>
                <a:gd name="connsiteY9" fmla="*/ 73374 h 393229"/>
                <a:gd name="connsiteX10" fmla="*/ 0 w 561249"/>
                <a:gd name="connsiteY10" fmla="*/ 73374 h 393229"/>
                <a:gd name="connsiteX11" fmla="*/ 0 w 561249"/>
                <a:gd name="connsiteY11" fmla="*/ 319109 h 393229"/>
                <a:gd name="connsiteX12" fmla="*/ 74455 w 561249"/>
                <a:gd name="connsiteY12" fmla="*/ 319109 h 393229"/>
                <a:gd name="connsiteX13" fmla="*/ 55758 w 561249"/>
                <a:gd name="connsiteY13" fmla="*/ 288392 h 393229"/>
                <a:gd name="connsiteX14" fmla="*/ 55758 w 561249"/>
                <a:gd name="connsiteY14" fmla="*/ 221616 h 393229"/>
                <a:gd name="connsiteX15" fmla="*/ 77126 w 561249"/>
                <a:gd name="connsiteY15" fmla="*/ 242984 h 393229"/>
                <a:gd name="connsiteX16" fmla="*/ 94821 w 561249"/>
                <a:gd name="connsiteY16" fmla="*/ 244988 h 393229"/>
                <a:gd name="connsiteX17" fmla="*/ 166271 w 561249"/>
                <a:gd name="connsiteY17" fmla="*/ 194238 h 393229"/>
                <a:gd name="connsiteX18" fmla="*/ 166271 w 561249"/>
                <a:gd name="connsiteY18" fmla="*/ 393230 h 393229"/>
                <a:gd name="connsiteX19" fmla="*/ 254749 w 561249"/>
                <a:gd name="connsiteY19" fmla="*/ 393230 h 393229"/>
                <a:gd name="connsiteX20" fmla="*/ 236052 w 561249"/>
                <a:gd name="connsiteY20" fmla="*/ 362847 h 393229"/>
                <a:gd name="connsiteX21" fmla="*/ 236052 w 561249"/>
                <a:gd name="connsiteY21" fmla="*/ 229295 h 393229"/>
                <a:gd name="connsiteX22" fmla="*/ 269774 w 561249"/>
                <a:gd name="connsiteY22" fmla="*/ 262683 h 393229"/>
                <a:gd name="connsiteX23" fmla="*/ 297820 w 561249"/>
                <a:gd name="connsiteY23" fmla="*/ 266690 h 393229"/>
                <a:gd name="connsiteX24" fmla="*/ 390972 w 561249"/>
                <a:gd name="connsiteY24" fmla="*/ 207593 h 393229"/>
                <a:gd name="connsiteX25" fmla="*/ 451737 w 561249"/>
                <a:gd name="connsiteY25" fmla="*/ 312765 h 393229"/>
                <a:gd name="connsiteX26" fmla="*/ 516844 w 561249"/>
                <a:gd name="connsiteY26" fmla="*/ 321112 h 393229"/>
                <a:gd name="connsiteX27" fmla="*/ 561250 w 561249"/>
                <a:gd name="connsiteY27" fmla="*/ 316772 h 393229"/>
                <a:gd name="connsiteX28" fmla="*/ 561250 w 561249"/>
                <a:gd name="connsiteY28" fmla="*/ 196575 h 393229"/>
                <a:gd name="connsiteX29" fmla="*/ 493472 w 561249"/>
                <a:gd name="connsiteY29" fmla="*/ 196575 h 393229"/>
                <a:gd name="connsiteX30" fmla="*/ 512169 w 561249"/>
                <a:gd name="connsiteY30" fmla="*/ 226624 h 393229"/>
                <a:gd name="connsiteX31" fmla="*/ 512169 w 561249"/>
                <a:gd name="connsiteY31" fmla="*/ 281714 h 393229"/>
                <a:gd name="connsiteX32" fmla="*/ 464091 w 561249"/>
                <a:gd name="connsiteY32" fmla="*/ 266690 h 393229"/>
                <a:gd name="connsiteX33" fmla="*/ 453073 w 561249"/>
                <a:gd name="connsiteY33" fmla="*/ 157512 h 393229"/>
                <a:gd name="connsiteX34" fmla="*/ 491135 w 561249"/>
                <a:gd name="connsiteY34" fmla="*/ 113106 h 393229"/>
                <a:gd name="connsiteX35" fmla="*/ 80799 w 561249"/>
                <a:gd name="connsiteY35" fmla="*/ 212268 h 393229"/>
                <a:gd name="connsiteX36" fmla="*/ 55424 w 561249"/>
                <a:gd name="connsiteY36" fmla="*/ 204588 h 393229"/>
                <a:gd name="connsiteX37" fmla="*/ 55424 w 561249"/>
                <a:gd name="connsiteY37" fmla="*/ 116111 h 393229"/>
                <a:gd name="connsiteX38" fmla="*/ 69113 w 561249"/>
                <a:gd name="connsiteY38" fmla="*/ 102422 h 393229"/>
                <a:gd name="connsiteX39" fmla="*/ 117859 w 561249"/>
                <a:gd name="connsiteY39" fmla="*/ 154173 h 393229"/>
                <a:gd name="connsiteX40" fmla="*/ 80799 w 561249"/>
                <a:gd name="connsiteY40" fmla="*/ 212268 h 393229"/>
                <a:gd name="connsiteX41" fmla="*/ 280792 w 561249"/>
                <a:gd name="connsiteY41" fmla="*/ 221282 h 393229"/>
                <a:gd name="connsiteX42" fmla="*/ 236052 w 561249"/>
                <a:gd name="connsiteY42" fmla="*/ 208595 h 393229"/>
                <a:gd name="connsiteX43" fmla="*/ 236052 w 561249"/>
                <a:gd name="connsiteY43" fmla="*/ 62022 h 393229"/>
                <a:gd name="connsiteX44" fmla="*/ 262762 w 561249"/>
                <a:gd name="connsiteY44" fmla="*/ 39986 h 393229"/>
                <a:gd name="connsiteX45" fmla="*/ 337217 w 561249"/>
                <a:gd name="connsiteY45" fmla="*/ 125125 h 393229"/>
                <a:gd name="connsiteX46" fmla="*/ 280792 w 561249"/>
                <a:gd name="connsiteY46" fmla="*/ 221282 h 39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61249" h="393229">
                  <a:moveTo>
                    <a:pt x="491135" y="113106"/>
                  </a:moveTo>
                  <a:cubicBezTo>
                    <a:pt x="515842" y="105760"/>
                    <a:pt x="541217" y="113440"/>
                    <a:pt x="561250" y="129800"/>
                  </a:cubicBezTo>
                  <a:lnTo>
                    <a:pt x="561250" y="76379"/>
                  </a:lnTo>
                  <a:cubicBezTo>
                    <a:pt x="496477" y="66029"/>
                    <a:pt x="462755" y="73040"/>
                    <a:pt x="437047" y="89066"/>
                  </a:cubicBezTo>
                  <a:cubicBezTo>
                    <a:pt x="416013" y="102422"/>
                    <a:pt x="407332" y="120785"/>
                    <a:pt x="407332" y="120785"/>
                  </a:cubicBezTo>
                  <a:cubicBezTo>
                    <a:pt x="407332" y="120785"/>
                    <a:pt x="406998" y="121787"/>
                    <a:pt x="405996" y="123456"/>
                  </a:cubicBezTo>
                  <a:cubicBezTo>
                    <a:pt x="402657" y="-11431"/>
                    <a:pt x="320189" y="255"/>
                    <a:pt x="221695" y="255"/>
                  </a:cubicBezTo>
                  <a:cubicBezTo>
                    <a:pt x="193983" y="255"/>
                    <a:pt x="166271" y="255"/>
                    <a:pt x="166271" y="255"/>
                  </a:cubicBezTo>
                  <a:lnTo>
                    <a:pt x="166271" y="116445"/>
                  </a:lnTo>
                  <a:cubicBezTo>
                    <a:pt x="149911" y="68366"/>
                    <a:pt x="99496" y="73374"/>
                    <a:pt x="45407" y="73374"/>
                  </a:cubicBezTo>
                  <a:cubicBezTo>
                    <a:pt x="25709" y="73374"/>
                    <a:pt x="0" y="73374"/>
                    <a:pt x="0" y="73374"/>
                  </a:cubicBezTo>
                  <a:lnTo>
                    <a:pt x="0" y="319109"/>
                  </a:lnTo>
                  <a:lnTo>
                    <a:pt x="74455" y="319109"/>
                  </a:lnTo>
                  <a:cubicBezTo>
                    <a:pt x="62101" y="314768"/>
                    <a:pt x="55758" y="304084"/>
                    <a:pt x="55758" y="288392"/>
                  </a:cubicBezTo>
                  <a:lnTo>
                    <a:pt x="55758" y="221616"/>
                  </a:lnTo>
                  <a:lnTo>
                    <a:pt x="77126" y="242984"/>
                  </a:lnTo>
                  <a:cubicBezTo>
                    <a:pt x="86475" y="245322"/>
                    <a:pt x="94821" y="244988"/>
                    <a:pt x="94821" y="244988"/>
                  </a:cubicBezTo>
                  <a:cubicBezTo>
                    <a:pt x="115522" y="243986"/>
                    <a:pt x="152249" y="235973"/>
                    <a:pt x="166271" y="194238"/>
                  </a:cubicBezTo>
                  <a:lnTo>
                    <a:pt x="166271" y="393230"/>
                  </a:lnTo>
                  <a:lnTo>
                    <a:pt x="254749" y="393230"/>
                  </a:lnTo>
                  <a:cubicBezTo>
                    <a:pt x="242396" y="388889"/>
                    <a:pt x="236052" y="378205"/>
                    <a:pt x="236052" y="362847"/>
                  </a:cubicBezTo>
                  <a:lnTo>
                    <a:pt x="236052" y="229295"/>
                  </a:lnTo>
                  <a:lnTo>
                    <a:pt x="269774" y="262683"/>
                  </a:lnTo>
                  <a:cubicBezTo>
                    <a:pt x="280458" y="266690"/>
                    <a:pt x="288471" y="267358"/>
                    <a:pt x="297820" y="266690"/>
                  </a:cubicBezTo>
                  <a:cubicBezTo>
                    <a:pt x="323528" y="265020"/>
                    <a:pt x="367934" y="254002"/>
                    <a:pt x="390972" y="207593"/>
                  </a:cubicBezTo>
                  <a:cubicBezTo>
                    <a:pt x="392975" y="251665"/>
                    <a:pt x="407332" y="295737"/>
                    <a:pt x="451737" y="312765"/>
                  </a:cubicBezTo>
                  <a:cubicBezTo>
                    <a:pt x="471436" y="320778"/>
                    <a:pt x="493806" y="323115"/>
                    <a:pt x="516844" y="321112"/>
                  </a:cubicBezTo>
                  <a:cubicBezTo>
                    <a:pt x="531868" y="320778"/>
                    <a:pt x="546559" y="319443"/>
                    <a:pt x="561250" y="316772"/>
                  </a:cubicBezTo>
                  <a:lnTo>
                    <a:pt x="561250" y="196575"/>
                  </a:lnTo>
                  <a:lnTo>
                    <a:pt x="493472" y="196575"/>
                  </a:lnTo>
                  <a:cubicBezTo>
                    <a:pt x="505826" y="200916"/>
                    <a:pt x="512169" y="211266"/>
                    <a:pt x="512169" y="226624"/>
                  </a:cubicBezTo>
                  <a:lnTo>
                    <a:pt x="512169" y="281714"/>
                  </a:lnTo>
                  <a:cubicBezTo>
                    <a:pt x="496811" y="286722"/>
                    <a:pt x="475777" y="281714"/>
                    <a:pt x="464091" y="266690"/>
                  </a:cubicBezTo>
                  <a:cubicBezTo>
                    <a:pt x="449400" y="247659"/>
                    <a:pt x="446729" y="193904"/>
                    <a:pt x="453073" y="157512"/>
                  </a:cubicBezTo>
                  <a:cubicBezTo>
                    <a:pt x="456412" y="139148"/>
                    <a:pt x="472104" y="118782"/>
                    <a:pt x="491135" y="113106"/>
                  </a:cubicBezTo>
                  <a:close/>
                  <a:moveTo>
                    <a:pt x="80799" y="212268"/>
                  </a:moveTo>
                  <a:cubicBezTo>
                    <a:pt x="62769" y="212268"/>
                    <a:pt x="55424" y="204588"/>
                    <a:pt x="55424" y="204588"/>
                  </a:cubicBezTo>
                  <a:lnTo>
                    <a:pt x="55424" y="116111"/>
                  </a:lnTo>
                  <a:cubicBezTo>
                    <a:pt x="55424" y="108431"/>
                    <a:pt x="60766" y="103423"/>
                    <a:pt x="69113" y="102422"/>
                  </a:cubicBezTo>
                  <a:cubicBezTo>
                    <a:pt x="77794" y="101420"/>
                    <a:pt x="117859" y="95076"/>
                    <a:pt x="117859" y="154173"/>
                  </a:cubicBezTo>
                  <a:cubicBezTo>
                    <a:pt x="117525" y="209597"/>
                    <a:pt x="93152" y="212268"/>
                    <a:pt x="80799" y="212268"/>
                  </a:cubicBezTo>
                  <a:close/>
                  <a:moveTo>
                    <a:pt x="280792" y="221282"/>
                  </a:moveTo>
                  <a:cubicBezTo>
                    <a:pt x="253748" y="221282"/>
                    <a:pt x="236052" y="208595"/>
                    <a:pt x="236052" y="208595"/>
                  </a:cubicBezTo>
                  <a:lnTo>
                    <a:pt x="236052" y="62022"/>
                  </a:lnTo>
                  <a:cubicBezTo>
                    <a:pt x="236052" y="49669"/>
                    <a:pt x="250409" y="41322"/>
                    <a:pt x="262762" y="39986"/>
                  </a:cubicBezTo>
                  <a:cubicBezTo>
                    <a:pt x="276117" y="38317"/>
                    <a:pt x="337217" y="28968"/>
                    <a:pt x="337217" y="125125"/>
                  </a:cubicBezTo>
                  <a:cubicBezTo>
                    <a:pt x="337217" y="211600"/>
                    <a:pt x="295816" y="221282"/>
                    <a:pt x="280792" y="221282"/>
                  </a:cubicBezTo>
                  <a:close/>
                </a:path>
              </a:pathLst>
            </a:custGeom>
            <a:solidFill>
              <a:srgbClr val="FFFFFF"/>
            </a:solidFill>
            <a:ln w="3303" cap="flat">
              <a:noFill/>
              <a:prstDash val="solid"/>
              <a:miter/>
            </a:ln>
          </p:spPr>
          <p:txBody>
            <a:bodyPr rtlCol="0" anchor="ctr"/>
            <a:lstStyle/>
            <a:p>
              <a:endParaRPr lang="en-US"/>
            </a:p>
          </p:txBody>
        </p:sp>
      </p:grpSp>
    </p:spTree>
    <p:extLst>
      <p:ext uri="{BB962C8B-B14F-4D97-AF65-F5344CB8AC3E}">
        <p14:creationId xmlns:p14="http://schemas.microsoft.com/office/powerpoint/2010/main" val="1782191492"/>
      </p:ext>
    </p:extLst>
  </p:cSld>
  <p:clrMap bg1="lt1" tx1="dk1" bg2="lt2" tx2="dk2" accent1="accent1" accent2="accent2" accent3="accent3" accent4="accent4" accent5="accent5" accent6="accent6" hlink="hlink" folHlink="folHlink"/>
  <p:sldLayoutIdLst>
    <p:sldLayoutId id="2147483670" r:id="rId1"/>
    <p:sldLayoutId id="2147483668" r:id="rId2"/>
    <p:sldLayoutId id="2147483669" r:id="rId3"/>
    <p:sldLayoutId id="2147483667" r:id="rId4"/>
    <p:sldLayoutId id="2147483652" r:id="rId5"/>
    <p:sldLayoutId id="2147483653" r:id="rId6"/>
    <p:sldLayoutId id="2147483659" r:id="rId7"/>
    <p:sldLayoutId id="2147483660" r:id="rId8"/>
    <p:sldLayoutId id="2147483662" r:id="rId9"/>
    <p:sldLayoutId id="2147483654" r:id="rId10"/>
    <p:sldLayoutId id="2147483655" r:id="rId11"/>
    <p:sldLayoutId id="2147483656" r:id="rId12"/>
    <p:sldLayoutId id="2147483657" r:id="rId13"/>
    <p:sldLayoutId id="2147483703" r:id="rId14"/>
    <p:sldLayoutId id="2147483704" r:id="rId15"/>
    <p:sldLayoutId id="2147483687" r:id="rId16"/>
    <p:sldLayoutId id="2147483688" r:id="rId17"/>
  </p:sldLayoutIdLst>
  <p:hf hdr="0" ftr="0" dt="0"/>
  <p:txStyles>
    <p:titleStyle>
      <a:lvl1pPr algn="l" defTabSz="457200" rtl="0" eaLnBrk="1" latinLnBrk="0" hangingPunct="1">
        <a:spcBef>
          <a:spcPct val="0"/>
        </a:spcBef>
        <a:buNone/>
        <a:defRPr sz="2800" b="1" kern="1200">
          <a:solidFill>
            <a:schemeClr val="tx1"/>
          </a:solidFill>
          <a:latin typeface="+mj-lt"/>
          <a:ea typeface="+mj-ea"/>
          <a:cs typeface="Arial"/>
        </a:defRPr>
      </a:lvl1pPr>
    </p:titleStyle>
    <p:body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242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24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1613"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7013"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09013" y="6356350"/>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A4180F-C1D7-475C-865A-A442E1E2E2F6}" type="slidenum">
              <a:rPr lang="en-US" smtClean="0"/>
              <a:t>‹#›</a:t>
            </a:fld>
            <a:endParaRPr lang="en-US"/>
          </a:p>
        </p:txBody>
      </p:sp>
    </p:spTree>
    <p:extLst>
      <p:ext uri="{BB962C8B-B14F-4D97-AF65-F5344CB8AC3E}">
        <p14:creationId xmlns:p14="http://schemas.microsoft.com/office/powerpoint/2010/main" val="3110857978"/>
      </p:ext>
    </p:extLst>
  </p:cSld>
  <p:clrMap bg1="lt1" tx1="dk1" bg2="lt2" tx2="dk2" accent1="accent1" accent2="accent2" accent3="accent3" accent4="accent4" accent5="accent5" accent6="accent6" hlink="hlink" folHlink="folHlink"/>
  <p:sldLayoutIdLst>
    <p:sldLayoutId id="2147483685"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8661" y="323849"/>
            <a:ext cx="11671300" cy="859536"/>
          </a:xfrm>
          <a:prstGeom prst="rect">
            <a:avLst/>
          </a:prstGeom>
        </p:spPr>
        <p:txBody>
          <a:bodyPr vert="horz" lIns="0" tIns="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28661" y="1274825"/>
            <a:ext cx="11671300" cy="470916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779472" y="6496413"/>
            <a:ext cx="9458085" cy="172221"/>
          </a:xfrm>
          <a:prstGeom prst="rect">
            <a:avLst/>
          </a:prstGeom>
        </p:spPr>
        <p:txBody>
          <a:bodyPr vert="horz" lIns="0" tIns="0" rIns="0" bIns="0" rtlCol="0" anchor="t" anchorCtr="0">
            <a:normAutofit/>
          </a:bodyPr>
          <a:lstStyle>
            <a:lvl1pPr algn="l">
              <a:defRPr sz="1000">
                <a:solidFill>
                  <a:schemeClr val="tx2"/>
                </a:solidFill>
                <a:latin typeface="+mn-lt"/>
                <a:cs typeface="Arial"/>
              </a:defRPr>
            </a:lvl1pPr>
          </a:lstStyle>
          <a:p>
            <a:endParaRPr lang="en-US"/>
          </a:p>
        </p:txBody>
      </p:sp>
      <p:sp>
        <p:nvSpPr>
          <p:cNvPr id="6" name="Slide Number Placeholder 5"/>
          <p:cNvSpPr>
            <a:spLocks noGrp="1"/>
          </p:cNvSpPr>
          <p:nvPr>
            <p:ph type="sldNum" sz="quarter" idx="4"/>
          </p:nvPr>
        </p:nvSpPr>
        <p:spPr>
          <a:xfrm>
            <a:off x="323838" y="6496413"/>
            <a:ext cx="455637" cy="172221"/>
          </a:xfrm>
          <a:prstGeom prst="rect">
            <a:avLst/>
          </a:prstGeom>
        </p:spPr>
        <p:txBody>
          <a:bodyPr vert="horz" lIns="0" tIns="0" rIns="0" bIns="0" rtlCol="0" anchor="t" anchorCtr="0">
            <a:normAutofit/>
          </a:bodyPr>
          <a:lstStyle>
            <a:lvl1pPr algn="l">
              <a:defRPr sz="1000">
                <a:solidFill>
                  <a:schemeClr val="tx2"/>
                </a:solidFill>
                <a:latin typeface="+mn-lt"/>
                <a:cs typeface="Arial"/>
              </a:defRPr>
            </a:lvl1pPr>
          </a:lstStyle>
          <a:p>
            <a:fld id="{FD9C4343-C115-504A-8D4F-0B17318D4A48}" type="slidenum">
              <a:rPr lang="en-US" smtClean="0"/>
              <a:pPr/>
              <a:t>‹#›</a:t>
            </a:fld>
            <a:endParaRPr lang="en-US"/>
          </a:p>
        </p:txBody>
      </p:sp>
      <p:sp>
        <p:nvSpPr>
          <p:cNvPr id="10" name="Rectangle 9">
            <a:extLst>
              <a:ext uri="{FF2B5EF4-FFF2-40B4-BE49-F238E27FC236}">
                <a16:creationId xmlns:a16="http://schemas.microsoft.com/office/drawing/2014/main" id="{7E4B72D9-C6AD-4A1B-83E6-276BEBF039EA}"/>
              </a:ext>
            </a:extLst>
          </p:cNvPr>
          <p:cNvSpPr/>
          <p:nvPr userDrawn="1"/>
        </p:nvSpPr>
        <p:spPr>
          <a:xfrm>
            <a:off x="7779951" y="2799"/>
            <a:ext cx="4408875" cy="17090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p>
        </p:txBody>
      </p:sp>
      <p:grpSp>
        <p:nvGrpSpPr>
          <p:cNvPr id="11" name="Group 10">
            <a:extLst>
              <a:ext uri="{FF2B5EF4-FFF2-40B4-BE49-F238E27FC236}">
                <a16:creationId xmlns:a16="http://schemas.microsoft.com/office/drawing/2014/main" id="{52BF6375-E4BF-4C3E-B930-933BD7E89F63}"/>
              </a:ext>
            </a:extLst>
          </p:cNvPr>
          <p:cNvGrpSpPr/>
          <p:nvPr userDrawn="1"/>
        </p:nvGrpSpPr>
        <p:grpSpPr>
          <a:xfrm>
            <a:off x="1" y="-3332"/>
            <a:ext cx="8106120" cy="177031"/>
            <a:chOff x="1" y="-3332"/>
            <a:chExt cx="8108232" cy="177031"/>
          </a:xfrm>
        </p:grpSpPr>
        <p:sp>
          <p:nvSpPr>
            <p:cNvPr id="13" name="Rectangle 12">
              <a:extLst>
                <a:ext uri="{FF2B5EF4-FFF2-40B4-BE49-F238E27FC236}">
                  <a16:creationId xmlns:a16="http://schemas.microsoft.com/office/drawing/2014/main" id="{839C0C7B-2D4E-4612-B123-34669C1B792F}"/>
                </a:ext>
              </a:extLst>
            </p:cNvPr>
            <p:cNvSpPr/>
            <p:nvPr userDrawn="1"/>
          </p:nvSpPr>
          <p:spPr>
            <a:xfrm>
              <a:off x="1" y="-3332"/>
              <a:ext cx="7931202" cy="17703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a:p>
          </p:txBody>
        </p:sp>
        <p:sp>
          <p:nvSpPr>
            <p:cNvPr id="15" name="Right Triangle 14">
              <a:extLst>
                <a:ext uri="{FF2B5EF4-FFF2-40B4-BE49-F238E27FC236}">
                  <a16:creationId xmlns:a16="http://schemas.microsoft.com/office/drawing/2014/main" id="{7C45FC9E-DEBE-4A43-84D3-25435740957C}"/>
                </a:ext>
              </a:extLst>
            </p:cNvPr>
            <p:cNvSpPr/>
            <p:nvPr userDrawn="1"/>
          </p:nvSpPr>
          <p:spPr>
            <a:xfrm flipV="1">
              <a:off x="7931202" y="-3332"/>
              <a:ext cx="177031" cy="177031"/>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grpSp>
      <p:grpSp>
        <p:nvGrpSpPr>
          <p:cNvPr id="16" name="Group 15">
            <a:extLst>
              <a:ext uri="{FF2B5EF4-FFF2-40B4-BE49-F238E27FC236}">
                <a16:creationId xmlns:a16="http://schemas.microsoft.com/office/drawing/2014/main" id="{38D43352-2E1A-457B-84F5-2674A6B4AF93}"/>
              </a:ext>
            </a:extLst>
          </p:cNvPr>
          <p:cNvGrpSpPr/>
          <p:nvPr userDrawn="1"/>
        </p:nvGrpSpPr>
        <p:grpSpPr>
          <a:xfrm>
            <a:off x="11264297" y="6148330"/>
            <a:ext cx="664245" cy="525190"/>
            <a:chOff x="10850888" y="5174158"/>
            <a:chExt cx="664418" cy="525190"/>
          </a:xfrm>
        </p:grpSpPr>
        <p:sp>
          <p:nvSpPr>
            <p:cNvPr id="17" name="Freeform: Shape 16">
              <a:extLst>
                <a:ext uri="{FF2B5EF4-FFF2-40B4-BE49-F238E27FC236}">
                  <a16:creationId xmlns:a16="http://schemas.microsoft.com/office/drawing/2014/main" id="{B10803DB-7B50-448C-98E9-2150B4784E90}"/>
                </a:ext>
              </a:extLst>
            </p:cNvPr>
            <p:cNvSpPr/>
            <p:nvPr/>
          </p:nvSpPr>
          <p:spPr>
            <a:xfrm>
              <a:off x="10850888" y="5174158"/>
              <a:ext cx="664418" cy="525190"/>
            </a:xfrm>
            <a:custGeom>
              <a:avLst/>
              <a:gdLst>
                <a:gd name="connsiteX0" fmla="*/ 538546 w 664418"/>
                <a:gd name="connsiteY0" fmla="*/ 525191 h 525190"/>
                <a:gd name="connsiteX1" fmla="*/ 125872 w 664418"/>
                <a:gd name="connsiteY1" fmla="*/ 525191 h 525190"/>
                <a:gd name="connsiteX2" fmla="*/ 0 w 664418"/>
                <a:gd name="connsiteY2" fmla="*/ 399319 h 525190"/>
                <a:gd name="connsiteX3" fmla="*/ 0 w 664418"/>
                <a:gd name="connsiteY3" fmla="*/ 125872 h 525190"/>
                <a:gd name="connsiteX4" fmla="*/ 125872 w 664418"/>
                <a:gd name="connsiteY4" fmla="*/ 0 h 525190"/>
                <a:gd name="connsiteX5" fmla="*/ 538546 w 664418"/>
                <a:gd name="connsiteY5" fmla="*/ 0 h 525190"/>
                <a:gd name="connsiteX6" fmla="*/ 664418 w 664418"/>
                <a:gd name="connsiteY6" fmla="*/ 125872 h 525190"/>
                <a:gd name="connsiteX7" fmla="*/ 664418 w 664418"/>
                <a:gd name="connsiteY7" fmla="*/ 399319 h 525190"/>
                <a:gd name="connsiteX8" fmla="*/ 538546 w 664418"/>
                <a:gd name="connsiteY8" fmla="*/ 525191 h 52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418" h="525190">
                  <a:moveTo>
                    <a:pt x="538546" y="525191"/>
                  </a:moveTo>
                  <a:lnTo>
                    <a:pt x="125872" y="525191"/>
                  </a:lnTo>
                  <a:cubicBezTo>
                    <a:pt x="56425" y="525191"/>
                    <a:pt x="0" y="468765"/>
                    <a:pt x="0" y="399319"/>
                  </a:cubicBezTo>
                  <a:lnTo>
                    <a:pt x="0" y="125872"/>
                  </a:lnTo>
                  <a:cubicBezTo>
                    <a:pt x="0" y="56425"/>
                    <a:pt x="56425" y="0"/>
                    <a:pt x="125872" y="0"/>
                  </a:cubicBezTo>
                  <a:lnTo>
                    <a:pt x="538546" y="0"/>
                  </a:lnTo>
                  <a:cubicBezTo>
                    <a:pt x="607993" y="0"/>
                    <a:pt x="664418" y="56425"/>
                    <a:pt x="664418" y="125872"/>
                  </a:cubicBezTo>
                  <a:lnTo>
                    <a:pt x="664418" y="399319"/>
                  </a:lnTo>
                  <a:cubicBezTo>
                    <a:pt x="664418" y="468765"/>
                    <a:pt x="607993" y="525191"/>
                    <a:pt x="538546" y="525191"/>
                  </a:cubicBezTo>
                  <a:close/>
                </a:path>
              </a:pathLst>
            </a:custGeom>
            <a:solidFill>
              <a:srgbClr val="FFFFFF"/>
            </a:solidFill>
            <a:ln w="3303" cap="flat">
              <a:noFill/>
              <a:prstDash val="solid"/>
              <a:miter/>
            </a:ln>
          </p:spPr>
          <p:txBody>
            <a:bodyPr rtlCol="0" anchor="ctr"/>
            <a:lstStyle/>
            <a:p>
              <a:endParaRPr lang="en-US" sz="1799"/>
            </a:p>
          </p:txBody>
        </p:sp>
        <p:sp>
          <p:nvSpPr>
            <p:cNvPr id="18" name="Freeform: Shape 17">
              <a:extLst>
                <a:ext uri="{FF2B5EF4-FFF2-40B4-BE49-F238E27FC236}">
                  <a16:creationId xmlns:a16="http://schemas.microsoft.com/office/drawing/2014/main" id="{24887951-2643-4C18-AF94-E0790D34287C}"/>
                </a:ext>
              </a:extLst>
            </p:cNvPr>
            <p:cNvSpPr/>
            <p:nvPr/>
          </p:nvSpPr>
          <p:spPr>
            <a:xfrm>
              <a:off x="10873257" y="5196527"/>
              <a:ext cx="619680" cy="480450"/>
            </a:xfrm>
            <a:custGeom>
              <a:avLst/>
              <a:gdLst>
                <a:gd name="connsiteX0" fmla="*/ 516176 w 619680"/>
                <a:gd name="connsiteY0" fmla="*/ 480451 h 480450"/>
                <a:gd name="connsiteX1" fmla="*/ 103502 w 619680"/>
                <a:gd name="connsiteY1" fmla="*/ 480451 h 480450"/>
                <a:gd name="connsiteX2" fmla="*/ 0 w 619680"/>
                <a:gd name="connsiteY2" fmla="*/ 376949 h 480450"/>
                <a:gd name="connsiteX3" fmla="*/ 0 w 619680"/>
                <a:gd name="connsiteY3" fmla="*/ 103502 h 480450"/>
                <a:gd name="connsiteX4" fmla="*/ 103502 w 619680"/>
                <a:gd name="connsiteY4" fmla="*/ 0 h 480450"/>
                <a:gd name="connsiteX5" fmla="*/ 516176 w 619680"/>
                <a:gd name="connsiteY5" fmla="*/ 0 h 480450"/>
                <a:gd name="connsiteX6" fmla="*/ 619678 w 619680"/>
                <a:gd name="connsiteY6" fmla="*/ 103502 h 480450"/>
                <a:gd name="connsiteX7" fmla="*/ 619678 w 619680"/>
                <a:gd name="connsiteY7" fmla="*/ 376949 h 480450"/>
                <a:gd name="connsiteX8" fmla="*/ 516176 w 619680"/>
                <a:gd name="connsiteY8" fmla="*/ 480451 h 4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680" h="480450">
                  <a:moveTo>
                    <a:pt x="516176" y="480451"/>
                  </a:moveTo>
                  <a:lnTo>
                    <a:pt x="103502" y="480451"/>
                  </a:lnTo>
                  <a:cubicBezTo>
                    <a:pt x="46409" y="480451"/>
                    <a:pt x="0" y="433708"/>
                    <a:pt x="0" y="376949"/>
                  </a:cubicBezTo>
                  <a:lnTo>
                    <a:pt x="0" y="103502"/>
                  </a:lnTo>
                  <a:cubicBezTo>
                    <a:pt x="0" y="46409"/>
                    <a:pt x="46743" y="0"/>
                    <a:pt x="103502" y="0"/>
                  </a:cubicBezTo>
                  <a:lnTo>
                    <a:pt x="516176" y="0"/>
                  </a:lnTo>
                  <a:cubicBezTo>
                    <a:pt x="573269" y="0"/>
                    <a:pt x="619678" y="46743"/>
                    <a:pt x="619678" y="103502"/>
                  </a:cubicBezTo>
                  <a:lnTo>
                    <a:pt x="619678" y="376949"/>
                  </a:lnTo>
                  <a:cubicBezTo>
                    <a:pt x="620012" y="434042"/>
                    <a:pt x="573269" y="480451"/>
                    <a:pt x="516176" y="480451"/>
                  </a:cubicBezTo>
                  <a:close/>
                </a:path>
              </a:pathLst>
            </a:custGeom>
            <a:solidFill>
              <a:srgbClr val="0078A9"/>
            </a:solidFill>
            <a:ln w="3303" cap="flat">
              <a:noFill/>
              <a:prstDash val="solid"/>
              <a:miter/>
            </a:ln>
          </p:spPr>
          <p:txBody>
            <a:bodyPr rtlCol="0" anchor="ctr"/>
            <a:lstStyle/>
            <a:p>
              <a:endParaRPr lang="en-US" sz="1799"/>
            </a:p>
          </p:txBody>
        </p:sp>
        <p:sp>
          <p:nvSpPr>
            <p:cNvPr id="19" name="Freeform: Shape 18">
              <a:extLst>
                <a:ext uri="{FF2B5EF4-FFF2-40B4-BE49-F238E27FC236}">
                  <a16:creationId xmlns:a16="http://schemas.microsoft.com/office/drawing/2014/main" id="{3205A6FB-F7F5-4B0C-AAF2-838FA635E373}"/>
                </a:ext>
              </a:extLst>
            </p:cNvPr>
            <p:cNvSpPr/>
            <p:nvPr/>
          </p:nvSpPr>
          <p:spPr>
            <a:xfrm>
              <a:off x="10902639" y="5239677"/>
              <a:ext cx="561249" cy="393229"/>
            </a:xfrm>
            <a:custGeom>
              <a:avLst/>
              <a:gdLst>
                <a:gd name="connsiteX0" fmla="*/ 491135 w 561249"/>
                <a:gd name="connsiteY0" fmla="*/ 113106 h 393229"/>
                <a:gd name="connsiteX1" fmla="*/ 561250 w 561249"/>
                <a:gd name="connsiteY1" fmla="*/ 129800 h 393229"/>
                <a:gd name="connsiteX2" fmla="*/ 561250 w 561249"/>
                <a:gd name="connsiteY2" fmla="*/ 76379 h 393229"/>
                <a:gd name="connsiteX3" fmla="*/ 437047 w 561249"/>
                <a:gd name="connsiteY3" fmla="*/ 89066 h 393229"/>
                <a:gd name="connsiteX4" fmla="*/ 407332 w 561249"/>
                <a:gd name="connsiteY4" fmla="*/ 120785 h 393229"/>
                <a:gd name="connsiteX5" fmla="*/ 405996 w 561249"/>
                <a:gd name="connsiteY5" fmla="*/ 123456 h 393229"/>
                <a:gd name="connsiteX6" fmla="*/ 221695 w 561249"/>
                <a:gd name="connsiteY6" fmla="*/ 255 h 393229"/>
                <a:gd name="connsiteX7" fmla="*/ 166271 w 561249"/>
                <a:gd name="connsiteY7" fmla="*/ 255 h 393229"/>
                <a:gd name="connsiteX8" fmla="*/ 166271 w 561249"/>
                <a:gd name="connsiteY8" fmla="*/ 116445 h 393229"/>
                <a:gd name="connsiteX9" fmla="*/ 45407 w 561249"/>
                <a:gd name="connsiteY9" fmla="*/ 73374 h 393229"/>
                <a:gd name="connsiteX10" fmla="*/ 0 w 561249"/>
                <a:gd name="connsiteY10" fmla="*/ 73374 h 393229"/>
                <a:gd name="connsiteX11" fmla="*/ 0 w 561249"/>
                <a:gd name="connsiteY11" fmla="*/ 319109 h 393229"/>
                <a:gd name="connsiteX12" fmla="*/ 74455 w 561249"/>
                <a:gd name="connsiteY12" fmla="*/ 319109 h 393229"/>
                <a:gd name="connsiteX13" fmla="*/ 55758 w 561249"/>
                <a:gd name="connsiteY13" fmla="*/ 288392 h 393229"/>
                <a:gd name="connsiteX14" fmla="*/ 55758 w 561249"/>
                <a:gd name="connsiteY14" fmla="*/ 221616 h 393229"/>
                <a:gd name="connsiteX15" fmla="*/ 77126 w 561249"/>
                <a:gd name="connsiteY15" fmla="*/ 242984 h 393229"/>
                <a:gd name="connsiteX16" fmla="*/ 94821 w 561249"/>
                <a:gd name="connsiteY16" fmla="*/ 244988 h 393229"/>
                <a:gd name="connsiteX17" fmla="*/ 166271 w 561249"/>
                <a:gd name="connsiteY17" fmla="*/ 194238 h 393229"/>
                <a:gd name="connsiteX18" fmla="*/ 166271 w 561249"/>
                <a:gd name="connsiteY18" fmla="*/ 393230 h 393229"/>
                <a:gd name="connsiteX19" fmla="*/ 254749 w 561249"/>
                <a:gd name="connsiteY19" fmla="*/ 393230 h 393229"/>
                <a:gd name="connsiteX20" fmla="*/ 236052 w 561249"/>
                <a:gd name="connsiteY20" fmla="*/ 362847 h 393229"/>
                <a:gd name="connsiteX21" fmla="*/ 236052 w 561249"/>
                <a:gd name="connsiteY21" fmla="*/ 229295 h 393229"/>
                <a:gd name="connsiteX22" fmla="*/ 269774 w 561249"/>
                <a:gd name="connsiteY22" fmla="*/ 262683 h 393229"/>
                <a:gd name="connsiteX23" fmla="*/ 297820 w 561249"/>
                <a:gd name="connsiteY23" fmla="*/ 266690 h 393229"/>
                <a:gd name="connsiteX24" fmla="*/ 390972 w 561249"/>
                <a:gd name="connsiteY24" fmla="*/ 207593 h 393229"/>
                <a:gd name="connsiteX25" fmla="*/ 451737 w 561249"/>
                <a:gd name="connsiteY25" fmla="*/ 312765 h 393229"/>
                <a:gd name="connsiteX26" fmla="*/ 516844 w 561249"/>
                <a:gd name="connsiteY26" fmla="*/ 321112 h 393229"/>
                <a:gd name="connsiteX27" fmla="*/ 561250 w 561249"/>
                <a:gd name="connsiteY27" fmla="*/ 316772 h 393229"/>
                <a:gd name="connsiteX28" fmla="*/ 561250 w 561249"/>
                <a:gd name="connsiteY28" fmla="*/ 196575 h 393229"/>
                <a:gd name="connsiteX29" fmla="*/ 493472 w 561249"/>
                <a:gd name="connsiteY29" fmla="*/ 196575 h 393229"/>
                <a:gd name="connsiteX30" fmla="*/ 512169 w 561249"/>
                <a:gd name="connsiteY30" fmla="*/ 226624 h 393229"/>
                <a:gd name="connsiteX31" fmla="*/ 512169 w 561249"/>
                <a:gd name="connsiteY31" fmla="*/ 281714 h 393229"/>
                <a:gd name="connsiteX32" fmla="*/ 464091 w 561249"/>
                <a:gd name="connsiteY32" fmla="*/ 266690 h 393229"/>
                <a:gd name="connsiteX33" fmla="*/ 453073 w 561249"/>
                <a:gd name="connsiteY33" fmla="*/ 157512 h 393229"/>
                <a:gd name="connsiteX34" fmla="*/ 491135 w 561249"/>
                <a:gd name="connsiteY34" fmla="*/ 113106 h 393229"/>
                <a:gd name="connsiteX35" fmla="*/ 80799 w 561249"/>
                <a:gd name="connsiteY35" fmla="*/ 212268 h 393229"/>
                <a:gd name="connsiteX36" fmla="*/ 55424 w 561249"/>
                <a:gd name="connsiteY36" fmla="*/ 204588 h 393229"/>
                <a:gd name="connsiteX37" fmla="*/ 55424 w 561249"/>
                <a:gd name="connsiteY37" fmla="*/ 116111 h 393229"/>
                <a:gd name="connsiteX38" fmla="*/ 69113 w 561249"/>
                <a:gd name="connsiteY38" fmla="*/ 102422 h 393229"/>
                <a:gd name="connsiteX39" fmla="*/ 117859 w 561249"/>
                <a:gd name="connsiteY39" fmla="*/ 154173 h 393229"/>
                <a:gd name="connsiteX40" fmla="*/ 80799 w 561249"/>
                <a:gd name="connsiteY40" fmla="*/ 212268 h 393229"/>
                <a:gd name="connsiteX41" fmla="*/ 280792 w 561249"/>
                <a:gd name="connsiteY41" fmla="*/ 221282 h 393229"/>
                <a:gd name="connsiteX42" fmla="*/ 236052 w 561249"/>
                <a:gd name="connsiteY42" fmla="*/ 208595 h 393229"/>
                <a:gd name="connsiteX43" fmla="*/ 236052 w 561249"/>
                <a:gd name="connsiteY43" fmla="*/ 62022 h 393229"/>
                <a:gd name="connsiteX44" fmla="*/ 262762 w 561249"/>
                <a:gd name="connsiteY44" fmla="*/ 39986 h 393229"/>
                <a:gd name="connsiteX45" fmla="*/ 337217 w 561249"/>
                <a:gd name="connsiteY45" fmla="*/ 125125 h 393229"/>
                <a:gd name="connsiteX46" fmla="*/ 280792 w 561249"/>
                <a:gd name="connsiteY46" fmla="*/ 221282 h 39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61249" h="393229">
                  <a:moveTo>
                    <a:pt x="491135" y="113106"/>
                  </a:moveTo>
                  <a:cubicBezTo>
                    <a:pt x="515842" y="105760"/>
                    <a:pt x="541217" y="113440"/>
                    <a:pt x="561250" y="129800"/>
                  </a:cubicBezTo>
                  <a:lnTo>
                    <a:pt x="561250" y="76379"/>
                  </a:lnTo>
                  <a:cubicBezTo>
                    <a:pt x="496477" y="66029"/>
                    <a:pt x="462755" y="73040"/>
                    <a:pt x="437047" y="89066"/>
                  </a:cubicBezTo>
                  <a:cubicBezTo>
                    <a:pt x="416013" y="102422"/>
                    <a:pt x="407332" y="120785"/>
                    <a:pt x="407332" y="120785"/>
                  </a:cubicBezTo>
                  <a:cubicBezTo>
                    <a:pt x="407332" y="120785"/>
                    <a:pt x="406998" y="121787"/>
                    <a:pt x="405996" y="123456"/>
                  </a:cubicBezTo>
                  <a:cubicBezTo>
                    <a:pt x="402657" y="-11431"/>
                    <a:pt x="320189" y="255"/>
                    <a:pt x="221695" y="255"/>
                  </a:cubicBezTo>
                  <a:cubicBezTo>
                    <a:pt x="193983" y="255"/>
                    <a:pt x="166271" y="255"/>
                    <a:pt x="166271" y="255"/>
                  </a:cubicBezTo>
                  <a:lnTo>
                    <a:pt x="166271" y="116445"/>
                  </a:lnTo>
                  <a:cubicBezTo>
                    <a:pt x="149911" y="68366"/>
                    <a:pt x="99496" y="73374"/>
                    <a:pt x="45407" y="73374"/>
                  </a:cubicBezTo>
                  <a:cubicBezTo>
                    <a:pt x="25709" y="73374"/>
                    <a:pt x="0" y="73374"/>
                    <a:pt x="0" y="73374"/>
                  </a:cubicBezTo>
                  <a:lnTo>
                    <a:pt x="0" y="319109"/>
                  </a:lnTo>
                  <a:lnTo>
                    <a:pt x="74455" y="319109"/>
                  </a:lnTo>
                  <a:cubicBezTo>
                    <a:pt x="62101" y="314768"/>
                    <a:pt x="55758" y="304084"/>
                    <a:pt x="55758" y="288392"/>
                  </a:cubicBezTo>
                  <a:lnTo>
                    <a:pt x="55758" y="221616"/>
                  </a:lnTo>
                  <a:lnTo>
                    <a:pt x="77126" y="242984"/>
                  </a:lnTo>
                  <a:cubicBezTo>
                    <a:pt x="86475" y="245322"/>
                    <a:pt x="94821" y="244988"/>
                    <a:pt x="94821" y="244988"/>
                  </a:cubicBezTo>
                  <a:cubicBezTo>
                    <a:pt x="115522" y="243986"/>
                    <a:pt x="152249" y="235973"/>
                    <a:pt x="166271" y="194238"/>
                  </a:cubicBezTo>
                  <a:lnTo>
                    <a:pt x="166271" y="393230"/>
                  </a:lnTo>
                  <a:lnTo>
                    <a:pt x="254749" y="393230"/>
                  </a:lnTo>
                  <a:cubicBezTo>
                    <a:pt x="242396" y="388889"/>
                    <a:pt x="236052" y="378205"/>
                    <a:pt x="236052" y="362847"/>
                  </a:cubicBezTo>
                  <a:lnTo>
                    <a:pt x="236052" y="229295"/>
                  </a:lnTo>
                  <a:lnTo>
                    <a:pt x="269774" y="262683"/>
                  </a:lnTo>
                  <a:cubicBezTo>
                    <a:pt x="280458" y="266690"/>
                    <a:pt x="288471" y="267358"/>
                    <a:pt x="297820" y="266690"/>
                  </a:cubicBezTo>
                  <a:cubicBezTo>
                    <a:pt x="323528" y="265020"/>
                    <a:pt x="367934" y="254002"/>
                    <a:pt x="390972" y="207593"/>
                  </a:cubicBezTo>
                  <a:cubicBezTo>
                    <a:pt x="392975" y="251665"/>
                    <a:pt x="407332" y="295737"/>
                    <a:pt x="451737" y="312765"/>
                  </a:cubicBezTo>
                  <a:cubicBezTo>
                    <a:pt x="471436" y="320778"/>
                    <a:pt x="493806" y="323115"/>
                    <a:pt x="516844" y="321112"/>
                  </a:cubicBezTo>
                  <a:cubicBezTo>
                    <a:pt x="531868" y="320778"/>
                    <a:pt x="546559" y="319443"/>
                    <a:pt x="561250" y="316772"/>
                  </a:cubicBezTo>
                  <a:lnTo>
                    <a:pt x="561250" y="196575"/>
                  </a:lnTo>
                  <a:lnTo>
                    <a:pt x="493472" y="196575"/>
                  </a:lnTo>
                  <a:cubicBezTo>
                    <a:pt x="505826" y="200916"/>
                    <a:pt x="512169" y="211266"/>
                    <a:pt x="512169" y="226624"/>
                  </a:cubicBezTo>
                  <a:lnTo>
                    <a:pt x="512169" y="281714"/>
                  </a:lnTo>
                  <a:cubicBezTo>
                    <a:pt x="496811" y="286722"/>
                    <a:pt x="475777" y="281714"/>
                    <a:pt x="464091" y="266690"/>
                  </a:cubicBezTo>
                  <a:cubicBezTo>
                    <a:pt x="449400" y="247659"/>
                    <a:pt x="446729" y="193904"/>
                    <a:pt x="453073" y="157512"/>
                  </a:cubicBezTo>
                  <a:cubicBezTo>
                    <a:pt x="456412" y="139148"/>
                    <a:pt x="472104" y="118782"/>
                    <a:pt x="491135" y="113106"/>
                  </a:cubicBezTo>
                  <a:close/>
                  <a:moveTo>
                    <a:pt x="80799" y="212268"/>
                  </a:moveTo>
                  <a:cubicBezTo>
                    <a:pt x="62769" y="212268"/>
                    <a:pt x="55424" y="204588"/>
                    <a:pt x="55424" y="204588"/>
                  </a:cubicBezTo>
                  <a:lnTo>
                    <a:pt x="55424" y="116111"/>
                  </a:lnTo>
                  <a:cubicBezTo>
                    <a:pt x="55424" y="108431"/>
                    <a:pt x="60766" y="103423"/>
                    <a:pt x="69113" y="102422"/>
                  </a:cubicBezTo>
                  <a:cubicBezTo>
                    <a:pt x="77794" y="101420"/>
                    <a:pt x="117859" y="95076"/>
                    <a:pt x="117859" y="154173"/>
                  </a:cubicBezTo>
                  <a:cubicBezTo>
                    <a:pt x="117525" y="209597"/>
                    <a:pt x="93152" y="212268"/>
                    <a:pt x="80799" y="212268"/>
                  </a:cubicBezTo>
                  <a:close/>
                  <a:moveTo>
                    <a:pt x="280792" y="221282"/>
                  </a:moveTo>
                  <a:cubicBezTo>
                    <a:pt x="253748" y="221282"/>
                    <a:pt x="236052" y="208595"/>
                    <a:pt x="236052" y="208595"/>
                  </a:cubicBezTo>
                  <a:lnTo>
                    <a:pt x="236052" y="62022"/>
                  </a:lnTo>
                  <a:cubicBezTo>
                    <a:pt x="236052" y="49669"/>
                    <a:pt x="250409" y="41322"/>
                    <a:pt x="262762" y="39986"/>
                  </a:cubicBezTo>
                  <a:cubicBezTo>
                    <a:pt x="276117" y="38317"/>
                    <a:pt x="337217" y="28968"/>
                    <a:pt x="337217" y="125125"/>
                  </a:cubicBezTo>
                  <a:cubicBezTo>
                    <a:pt x="337217" y="211600"/>
                    <a:pt x="295816" y="221282"/>
                    <a:pt x="280792" y="221282"/>
                  </a:cubicBezTo>
                  <a:close/>
                </a:path>
              </a:pathLst>
            </a:custGeom>
            <a:solidFill>
              <a:srgbClr val="FFFFFF"/>
            </a:solidFill>
            <a:ln w="3303" cap="flat">
              <a:noFill/>
              <a:prstDash val="solid"/>
              <a:miter/>
            </a:ln>
          </p:spPr>
          <p:txBody>
            <a:bodyPr rtlCol="0" anchor="ctr"/>
            <a:lstStyle/>
            <a:p>
              <a:endParaRPr lang="en-US" sz="1799"/>
            </a:p>
          </p:txBody>
        </p:sp>
      </p:grpSp>
    </p:spTree>
    <p:extLst>
      <p:ext uri="{BB962C8B-B14F-4D97-AF65-F5344CB8AC3E}">
        <p14:creationId xmlns:p14="http://schemas.microsoft.com/office/powerpoint/2010/main" val="178219149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671" r:id="rId14"/>
    <p:sldLayoutId id="2147483672" r:id="rId15"/>
  </p:sldLayoutIdLst>
  <p:hf hdr="0" ftr="0" dt="0"/>
  <p:txStyles>
    <p:titleStyle>
      <a:lvl1pPr algn="l" defTabSz="457070" rtl="0" eaLnBrk="1" latinLnBrk="0" hangingPunct="1">
        <a:spcBef>
          <a:spcPct val="0"/>
        </a:spcBef>
        <a:buNone/>
        <a:defRPr sz="2800" b="1" kern="1200">
          <a:solidFill>
            <a:schemeClr val="tx1"/>
          </a:solidFill>
          <a:latin typeface="+mj-lt"/>
          <a:ea typeface="+mj-ea"/>
          <a:cs typeface="Arial"/>
        </a:defRPr>
      </a:lvl1pPr>
    </p:titleStyle>
    <p:bodyStyle>
      <a:lvl1pPr marL="228531" indent="-228531" algn="l" defTabSz="457070" rtl="0" eaLnBrk="1" latinLnBrk="0" hangingPunct="1">
        <a:spcBef>
          <a:spcPts val="528"/>
        </a:spcBef>
        <a:spcAft>
          <a:spcPts val="0"/>
        </a:spcAft>
        <a:buClr>
          <a:schemeClr val="accent1"/>
        </a:buClr>
        <a:buFont typeface="Arial" panose="020B0604020202020204" pitchFamily="34" charset="0"/>
        <a:buChar char="•"/>
        <a:defRPr sz="2399" b="0" kern="1200">
          <a:solidFill>
            <a:schemeClr val="tx1"/>
          </a:solidFill>
          <a:latin typeface="+mn-lt"/>
          <a:ea typeface="+mn-ea"/>
          <a:cs typeface="Arial"/>
        </a:defRPr>
      </a:lvl1pPr>
      <a:lvl2pPr marL="342797" indent="-171399" algn="l" defTabSz="457070" rtl="0" eaLnBrk="1" latinLnBrk="0" hangingPunct="1">
        <a:spcBef>
          <a:spcPts val="528"/>
        </a:spcBef>
        <a:spcAft>
          <a:spcPts val="0"/>
        </a:spcAft>
        <a:buClr>
          <a:schemeClr val="accent1"/>
        </a:buClr>
        <a:buFont typeface="Arial"/>
        <a:buChar char="•"/>
        <a:defRPr sz="2198" b="0" i="0" kern="1200">
          <a:solidFill>
            <a:schemeClr val="tx1"/>
          </a:solidFill>
          <a:latin typeface="Arial"/>
          <a:ea typeface="+mn-ea"/>
          <a:cs typeface="Arial"/>
        </a:defRPr>
      </a:lvl2pPr>
      <a:lvl3pPr marL="514196" indent="-171399" algn="l" defTabSz="457070" rtl="0" eaLnBrk="1" latinLnBrk="0" hangingPunct="1">
        <a:spcBef>
          <a:spcPts val="528"/>
        </a:spcBef>
        <a:spcAft>
          <a:spcPts val="0"/>
        </a:spcAft>
        <a:buClr>
          <a:schemeClr val="accent1"/>
        </a:buClr>
        <a:buFont typeface="Arial"/>
        <a:buChar char="•"/>
        <a:tabLst/>
        <a:defRPr sz="1999" kern="1200">
          <a:solidFill>
            <a:schemeClr val="tx1"/>
          </a:solidFill>
          <a:latin typeface="+mn-lt"/>
          <a:ea typeface="+mn-ea"/>
          <a:cs typeface="Arial"/>
        </a:defRPr>
      </a:lvl3pPr>
      <a:lvl4pPr marL="685594" indent="-171399" algn="l" defTabSz="457070" rtl="0" eaLnBrk="1" latinLnBrk="0" hangingPunct="1">
        <a:spcBef>
          <a:spcPts val="528"/>
        </a:spcBef>
        <a:spcAft>
          <a:spcPts val="0"/>
        </a:spcAft>
        <a:buClr>
          <a:schemeClr val="accent1"/>
        </a:buClr>
        <a:buFont typeface="Arial"/>
        <a:buChar char="•"/>
        <a:tabLst/>
        <a:defRPr sz="1799" kern="1200">
          <a:solidFill>
            <a:schemeClr val="tx1"/>
          </a:solidFill>
          <a:latin typeface="+mn-lt"/>
          <a:ea typeface="+mn-ea"/>
          <a:cs typeface="Arial"/>
        </a:defRPr>
      </a:lvl4pPr>
      <a:lvl5pPr marL="799860" indent="-171399" algn="l" defTabSz="45707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799873" indent="-114268" algn="l" defTabSz="45707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728" indent="-115855" algn="l" defTabSz="45707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29996" indent="-114268" algn="l" defTabSz="45707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223" indent="-106333" algn="l" defTabSz="45707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p:bodyStyle>
    <p:otherStyle>
      <a:defPPr>
        <a:defRPr lang="en-US"/>
      </a:defPPr>
      <a:lvl1pPr marL="0" algn="l" defTabSz="457070" rtl="0" eaLnBrk="1" latinLnBrk="0" hangingPunct="1">
        <a:defRPr sz="1799" kern="1200">
          <a:solidFill>
            <a:schemeClr val="tx1"/>
          </a:solidFill>
          <a:latin typeface="+mn-lt"/>
          <a:ea typeface="+mn-ea"/>
          <a:cs typeface="+mn-cs"/>
        </a:defRPr>
      </a:lvl1pPr>
      <a:lvl2pPr marL="457070" algn="l" defTabSz="457070" rtl="0" eaLnBrk="1" latinLnBrk="0" hangingPunct="1">
        <a:defRPr sz="1799" kern="1200">
          <a:solidFill>
            <a:schemeClr val="tx1"/>
          </a:solidFill>
          <a:latin typeface="+mn-lt"/>
          <a:ea typeface="+mn-ea"/>
          <a:cs typeface="+mn-cs"/>
        </a:defRPr>
      </a:lvl2pPr>
      <a:lvl3pPr marL="914141" algn="l" defTabSz="457070" rtl="0" eaLnBrk="1" latinLnBrk="0" hangingPunct="1">
        <a:defRPr sz="1799" kern="1200">
          <a:solidFill>
            <a:schemeClr val="tx1"/>
          </a:solidFill>
          <a:latin typeface="+mn-lt"/>
          <a:ea typeface="+mn-ea"/>
          <a:cs typeface="+mn-cs"/>
        </a:defRPr>
      </a:lvl3pPr>
      <a:lvl4pPr marL="1371211" algn="l" defTabSz="457070" rtl="0" eaLnBrk="1" latinLnBrk="0" hangingPunct="1">
        <a:defRPr sz="1799" kern="1200">
          <a:solidFill>
            <a:schemeClr val="tx1"/>
          </a:solidFill>
          <a:latin typeface="+mn-lt"/>
          <a:ea typeface="+mn-ea"/>
          <a:cs typeface="+mn-cs"/>
        </a:defRPr>
      </a:lvl4pPr>
      <a:lvl5pPr marL="1828282" algn="l" defTabSz="457070" rtl="0" eaLnBrk="1" latinLnBrk="0" hangingPunct="1">
        <a:defRPr sz="1799" kern="1200">
          <a:solidFill>
            <a:schemeClr val="tx1"/>
          </a:solidFill>
          <a:latin typeface="+mn-lt"/>
          <a:ea typeface="+mn-ea"/>
          <a:cs typeface="+mn-cs"/>
        </a:defRPr>
      </a:lvl5pPr>
      <a:lvl6pPr marL="2285352" algn="l" defTabSz="457070" rtl="0" eaLnBrk="1" latinLnBrk="0" hangingPunct="1">
        <a:defRPr sz="1799" kern="1200">
          <a:solidFill>
            <a:schemeClr val="tx1"/>
          </a:solidFill>
          <a:latin typeface="+mn-lt"/>
          <a:ea typeface="+mn-ea"/>
          <a:cs typeface="+mn-cs"/>
        </a:defRPr>
      </a:lvl6pPr>
      <a:lvl7pPr marL="2742423" algn="l" defTabSz="457070" rtl="0" eaLnBrk="1" latinLnBrk="0" hangingPunct="1">
        <a:defRPr sz="1799" kern="1200">
          <a:solidFill>
            <a:schemeClr val="tx1"/>
          </a:solidFill>
          <a:latin typeface="+mn-lt"/>
          <a:ea typeface="+mn-ea"/>
          <a:cs typeface="+mn-cs"/>
        </a:defRPr>
      </a:lvl7pPr>
      <a:lvl8pPr marL="3199493" algn="l" defTabSz="457070" rtl="0" eaLnBrk="1" latinLnBrk="0" hangingPunct="1">
        <a:defRPr sz="1799" kern="1200">
          <a:solidFill>
            <a:schemeClr val="tx1"/>
          </a:solidFill>
          <a:latin typeface="+mn-lt"/>
          <a:ea typeface="+mn-ea"/>
          <a:cs typeface="+mn-cs"/>
        </a:defRPr>
      </a:lvl8pPr>
      <a:lvl9pPr marL="3656564" algn="l" defTabSz="457070"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25.pn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3.mov"/><Relationship Id="rId1" Type="http://schemas.microsoft.com/office/2007/relationships/media" Target="../media/media3.mov"/><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slideLayout" Target="../slideLayouts/slideLayout4.xml"/><Relationship Id="rId1" Type="http://schemas.openxmlformats.org/officeDocument/2006/relationships/video" Target="https://www.youtube.com/embed/Cj7bOHrKEi8?start=116&amp;feature=oembed"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45.tiff"/></Relationships>
</file>

<file path=ppt/slides/_rels/slide25.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5.tiff"/><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5.tiff"/><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5.tiff"/><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45.tiff"/><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48.jpeg"/><Relationship Id="rId4" Type="http://schemas.openxmlformats.org/officeDocument/2006/relationships/image" Target="../media/image47.jpeg"/></Relationships>
</file>

<file path=ppt/slides/_rels/slide3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16.xml"/><Relationship Id="rId4" Type="http://schemas.openxmlformats.org/officeDocument/2006/relationships/image" Target="../media/image52.sv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4.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8EE03407-6DF0-4431-8A6B-6BA8CCC63EB1}"/>
              </a:ext>
            </a:extLst>
          </p:cNvPr>
          <p:cNvSpPr/>
          <p:nvPr/>
        </p:nvSpPr>
        <p:spPr bwMode="white">
          <a:xfrm>
            <a:off x="10493189" y="892"/>
            <a:ext cx="1694049" cy="12915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grpSp>
        <p:nvGrpSpPr>
          <p:cNvPr id="26" name="Group 25">
            <a:extLst>
              <a:ext uri="{FF2B5EF4-FFF2-40B4-BE49-F238E27FC236}">
                <a16:creationId xmlns:a16="http://schemas.microsoft.com/office/drawing/2014/main" id="{A8E72904-74F0-4D08-9706-76AA4F4AC2C8}"/>
              </a:ext>
            </a:extLst>
          </p:cNvPr>
          <p:cNvGrpSpPr/>
          <p:nvPr/>
        </p:nvGrpSpPr>
        <p:grpSpPr>
          <a:xfrm>
            <a:off x="300464" y="894"/>
            <a:ext cx="10971541" cy="6856215"/>
            <a:chOff x="0" y="0"/>
            <a:chExt cx="10974399" cy="6858001"/>
          </a:xfrm>
          <a:solidFill>
            <a:schemeClr val="accent2"/>
          </a:solidFill>
        </p:grpSpPr>
        <p:sp>
          <p:nvSpPr>
            <p:cNvPr id="7" name="Rectangle 6">
              <a:extLst>
                <a:ext uri="{FF2B5EF4-FFF2-40B4-BE49-F238E27FC236}">
                  <a16:creationId xmlns:a16="http://schemas.microsoft.com/office/drawing/2014/main" id="{C3DA2894-B130-42A0-B149-236C7BD97426}"/>
                </a:ext>
              </a:extLst>
            </p:cNvPr>
            <p:cNvSpPr/>
            <p:nvPr/>
          </p:nvSpPr>
          <p:spPr>
            <a:xfrm>
              <a:off x="0" y="0"/>
              <a:ext cx="713604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8" name="Isosceles Triangle 7">
              <a:extLst>
                <a:ext uri="{FF2B5EF4-FFF2-40B4-BE49-F238E27FC236}">
                  <a16:creationId xmlns:a16="http://schemas.microsoft.com/office/drawing/2014/main" id="{8D885247-D9B3-4112-8D50-8B318D8A945E}"/>
                </a:ext>
              </a:extLst>
            </p:cNvPr>
            <p:cNvSpPr/>
            <p:nvPr/>
          </p:nvSpPr>
          <p:spPr>
            <a:xfrm rot="5400000">
              <a:off x="5626222" y="1509824"/>
              <a:ext cx="6858001" cy="3838353"/>
            </a:xfrm>
            <a:prstGeom prst="triangle">
              <a:avLst>
                <a:gd name="adj" fmla="val 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grpSp>
      <p:grpSp>
        <p:nvGrpSpPr>
          <p:cNvPr id="39" name="Group 38">
            <a:extLst>
              <a:ext uri="{FF2B5EF4-FFF2-40B4-BE49-F238E27FC236}">
                <a16:creationId xmlns:a16="http://schemas.microsoft.com/office/drawing/2014/main" id="{305157A8-1600-4D74-A6B3-849075EE1115}"/>
              </a:ext>
            </a:extLst>
          </p:cNvPr>
          <p:cNvGrpSpPr/>
          <p:nvPr/>
        </p:nvGrpSpPr>
        <p:grpSpPr>
          <a:xfrm>
            <a:off x="1589" y="894"/>
            <a:ext cx="10958866" cy="6856215"/>
            <a:chOff x="0" y="0"/>
            <a:chExt cx="10961721" cy="6858001"/>
          </a:xfrm>
          <a:solidFill>
            <a:schemeClr val="accent1"/>
          </a:solidFill>
        </p:grpSpPr>
        <p:sp>
          <p:nvSpPr>
            <p:cNvPr id="40" name="Rectangle 39">
              <a:extLst>
                <a:ext uri="{FF2B5EF4-FFF2-40B4-BE49-F238E27FC236}">
                  <a16:creationId xmlns:a16="http://schemas.microsoft.com/office/drawing/2014/main" id="{DF01EFB7-4404-4817-B893-C62EE25E5FCD}"/>
                </a:ext>
              </a:extLst>
            </p:cNvPr>
            <p:cNvSpPr/>
            <p:nvPr/>
          </p:nvSpPr>
          <p:spPr>
            <a:xfrm>
              <a:off x="0" y="0"/>
              <a:ext cx="713604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41" name="Isosceles Triangle 40">
              <a:extLst>
                <a:ext uri="{FF2B5EF4-FFF2-40B4-BE49-F238E27FC236}">
                  <a16:creationId xmlns:a16="http://schemas.microsoft.com/office/drawing/2014/main" id="{5D979DEB-0C02-426B-B2DF-A7E25F7B0637}"/>
                </a:ext>
              </a:extLst>
            </p:cNvPr>
            <p:cNvSpPr/>
            <p:nvPr/>
          </p:nvSpPr>
          <p:spPr>
            <a:xfrm rot="5400000">
              <a:off x="5613544" y="1509824"/>
              <a:ext cx="6858001" cy="3838353"/>
            </a:xfrm>
            <a:prstGeom prst="triangle">
              <a:avLst>
                <a:gd name="adj" fmla="val 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grpSp>
      <p:sp>
        <p:nvSpPr>
          <p:cNvPr id="6" name="Title 5">
            <a:extLst>
              <a:ext uri="{FF2B5EF4-FFF2-40B4-BE49-F238E27FC236}">
                <a16:creationId xmlns:a16="http://schemas.microsoft.com/office/drawing/2014/main" id="{3ED80877-0F23-4801-A241-EAB18A2AE786}"/>
              </a:ext>
            </a:extLst>
          </p:cNvPr>
          <p:cNvSpPr>
            <a:spLocks noGrp="1"/>
          </p:cNvSpPr>
          <p:nvPr>
            <p:ph type="ctrTitle"/>
          </p:nvPr>
        </p:nvSpPr>
        <p:spPr bwMode="gray">
          <a:xfrm>
            <a:off x="600885" y="4616676"/>
            <a:ext cx="8453567" cy="1614405"/>
          </a:xfrm>
        </p:spPr>
        <p:txBody>
          <a:bodyPr>
            <a:noAutofit/>
          </a:bodyPr>
          <a:lstStyle/>
          <a:p>
            <a:pPr>
              <a:lnSpc>
                <a:spcPct val="90000"/>
              </a:lnSpc>
            </a:pPr>
            <a:r>
              <a:rPr lang="en-US" sz="2000">
                <a:solidFill>
                  <a:schemeClr val="bg1"/>
                </a:solidFill>
              </a:rPr>
              <a:t>WELCOME TO PPG’S </a:t>
            </a:r>
            <a:br>
              <a:rPr lang="en-US" sz="3600" b="0">
                <a:solidFill>
                  <a:schemeClr val="bg1"/>
                </a:solidFill>
              </a:rPr>
            </a:br>
            <a:r>
              <a:rPr lang="en-US" sz="3600" b="0">
                <a:solidFill>
                  <a:schemeClr val="bg1"/>
                </a:solidFill>
              </a:rPr>
              <a:t>Product Knowledge University</a:t>
            </a:r>
            <a:br>
              <a:rPr lang="en-US" sz="3600" b="0">
                <a:solidFill>
                  <a:schemeClr val="bg1"/>
                </a:solidFill>
              </a:rPr>
            </a:br>
            <a:r>
              <a:rPr lang="en-US" sz="3600" b="0">
                <a:solidFill>
                  <a:schemeClr val="bg1"/>
                </a:solidFill>
              </a:rPr>
              <a:t>201: Application and Equipment</a:t>
            </a:r>
            <a:endParaRPr lang="en-US" sz="3599" b="0">
              <a:solidFill>
                <a:schemeClr val="bg1"/>
              </a:solidFill>
            </a:endParaRPr>
          </a:p>
        </p:txBody>
      </p:sp>
      <p:sp>
        <p:nvSpPr>
          <p:cNvPr id="17" name="Rectangle 16">
            <a:extLst>
              <a:ext uri="{FF2B5EF4-FFF2-40B4-BE49-F238E27FC236}">
                <a16:creationId xmlns:a16="http://schemas.microsoft.com/office/drawing/2014/main" id="{3C988E79-1F28-48D2-B303-69A732E9BA7D}"/>
              </a:ext>
            </a:extLst>
          </p:cNvPr>
          <p:cNvSpPr/>
          <p:nvPr/>
        </p:nvSpPr>
        <p:spPr bwMode="white">
          <a:xfrm>
            <a:off x="10493189" y="5528383"/>
            <a:ext cx="1694049" cy="13287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pic>
        <p:nvPicPr>
          <p:cNvPr id="19" name="Picture 18">
            <a:extLst>
              <a:ext uri="{FF2B5EF4-FFF2-40B4-BE49-F238E27FC236}">
                <a16:creationId xmlns:a16="http://schemas.microsoft.com/office/drawing/2014/main" id="{7204EA06-2944-41CC-9FF9-3E34681D463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716380" y="5062994"/>
            <a:ext cx="2775409" cy="1019823"/>
          </a:xfrm>
          <a:prstGeom prst="rect">
            <a:avLst/>
          </a:prstGeom>
        </p:spPr>
      </p:pic>
      <p:grpSp>
        <p:nvGrpSpPr>
          <p:cNvPr id="15" name="Group 14">
            <a:extLst>
              <a:ext uri="{FF2B5EF4-FFF2-40B4-BE49-F238E27FC236}">
                <a16:creationId xmlns:a16="http://schemas.microsoft.com/office/drawing/2014/main" id="{D153B4E4-9096-4880-89DD-3D79E982A50A}"/>
              </a:ext>
            </a:extLst>
          </p:cNvPr>
          <p:cNvGrpSpPr/>
          <p:nvPr/>
        </p:nvGrpSpPr>
        <p:grpSpPr bwMode="gray">
          <a:xfrm>
            <a:off x="-157861" y="468605"/>
            <a:ext cx="12500633" cy="170077"/>
            <a:chOff x="-159489" y="446567"/>
            <a:chExt cx="10590026" cy="282028"/>
          </a:xfrm>
        </p:grpSpPr>
        <p:sp>
          <p:nvSpPr>
            <p:cNvPr id="11" name="Parallelogram 10">
              <a:extLst>
                <a:ext uri="{FF2B5EF4-FFF2-40B4-BE49-F238E27FC236}">
                  <a16:creationId xmlns:a16="http://schemas.microsoft.com/office/drawing/2014/main" id="{0BFE86E9-B608-462D-9B8B-AD20891EC435}"/>
                </a:ext>
              </a:extLst>
            </p:cNvPr>
            <p:cNvSpPr/>
            <p:nvPr/>
          </p:nvSpPr>
          <p:spPr bwMode="gray">
            <a:xfrm>
              <a:off x="-159489" y="446567"/>
              <a:ext cx="2785730" cy="282028"/>
            </a:xfrm>
            <a:prstGeom prst="parallelogram">
              <a:avLst>
                <a:gd name="adj" fmla="val 55160"/>
              </a:avLst>
            </a:prstGeom>
            <a:solidFill>
              <a:schemeClr val="accent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27" name="Parallelogram 26">
              <a:extLst>
                <a:ext uri="{FF2B5EF4-FFF2-40B4-BE49-F238E27FC236}">
                  <a16:creationId xmlns:a16="http://schemas.microsoft.com/office/drawing/2014/main" id="{A61184EF-67A3-48F6-AA2A-1B1505EEDFEE}"/>
                </a:ext>
              </a:extLst>
            </p:cNvPr>
            <p:cNvSpPr/>
            <p:nvPr/>
          </p:nvSpPr>
          <p:spPr bwMode="gray">
            <a:xfrm>
              <a:off x="2445487" y="446567"/>
              <a:ext cx="2785730" cy="282028"/>
            </a:xfrm>
            <a:prstGeom prst="parallelogram">
              <a:avLst>
                <a:gd name="adj" fmla="val 55160"/>
              </a:avLst>
            </a:prstGeom>
            <a:solidFill>
              <a:schemeClr val="accent4"/>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28" name="Parallelogram 27">
              <a:extLst>
                <a:ext uri="{FF2B5EF4-FFF2-40B4-BE49-F238E27FC236}">
                  <a16:creationId xmlns:a16="http://schemas.microsoft.com/office/drawing/2014/main" id="{03B1EA47-ABA7-495B-A76C-831FC22234E2}"/>
                </a:ext>
              </a:extLst>
            </p:cNvPr>
            <p:cNvSpPr/>
            <p:nvPr/>
          </p:nvSpPr>
          <p:spPr bwMode="gray">
            <a:xfrm>
              <a:off x="5029199" y="446567"/>
              <a:ext cx="2785730" cy="282028"/>
            </a:xfrm>
            <a:prstGeom prst="parallelogram">
              <a:avLst>
                <a:gd name="adj" fmla="val 55160"/>
              </a:avLst>
            </a:prstGeom>
            <a:solidFill>
              <a:srgbClr val="8F1A9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29" name="Parallelogram 28">
              <a:extLst>
                <a:ext uri="{FF2B5EF4-FFF2-40B4-BE49-F238E27FC236}">
                  <a16:creationId xmlns:a16="http://schemas.microsoft.com/office/drawing/2014/main" id="{968A88E4-0954-4014-AA7B-F82207E1D150}"/>
                </a:ext>
              </a:extLst>
            </p:cNvPr>
            <p:cNvSpPr/>
            <p:nvPr/>
          </p:nvSpPr>
          <p:spPr bwMode="gray">
            <a:xfrm>
              <a:off x="7644807" y="446567"/>
              <a:ext cx="2785730" cy="282028"/>
            </a:xfrm>
            <a:prstGeom prst="parallelogram">
              <a:avLst>
                <a:gd name="adj" fmla="val 55160"/>
              </a:avLst>
            </a:prstGeom>
            <a:solidFill>
              <a:schemeClr val="accent6"/>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grpSp>
      <p:pic>
        <p:nvPicPr>
          <p:cNvPr id="4" name="Picture 3" descr="A table with bowls of food and a plant on it&#10;&#10;Description automatically generated with low confidence">
            <a:extLst>
              <a:ext uri="{FF2B5EF4-FFF2-40B4-BE49-F238E27FC236}">
                <a16:creationId xmlns:a16="http://schemas.microsoft.com/office/drawing/2014/main" id="{1E50B484-DEEB-4DC2-95FA-437C94A2D940}"/>
              </a:ext>
            </a:extLst>
          </p:cNvPr>
          <p:cNvPicPr>
            <a:picLocks noChangeAspect="1"/>
          </p:cNvPicPr>
          <p:nvPr/>
        </p:nvPicPr>
        <p:blipFill rotWithShape="1">
          <a:blip r:embed="rId4"/>
          <a:srcRect l="431" t="49295" r="10466" b="11220"/>
          <a:stretch/>
        </p:blipFill>
        <p:spPr>
          <a:xfrm flipH="1">
            <a:off x="-1" y="638273"/>
            <a:ext cx="12188825" cy="3619500"/>
          </a:xfrm>
          <a:prstGeom prst="rect">
            <a:avLst/>
          </a:prstGeom>
          <a:ln w="19050">
            <a:solidFill>
              <a:schemeClr val="bg1"/>
            </a:solidFill>
          </a:ln>
        </p:spPr>
      </p:pic>
    </p:spTree>
    <p:extLst>
      <p:ext uri="{BB962C8B-B14F-4D97-AF65-F5344CB8AC3E}">
        <p14:creationId xmlns:p14="http://schemas.microsoft.com/office/powerpoint/2010/main" val="26646005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F950587-2813-4A2D-B837-A30D671BE24A}"/>
              </a:ext>
            </a:extLst>
          </p:cNvPr>
          <p:cNvPicPr>
            <a:picLocks noChangeAspect="1"/>
          </p:cNvPicPr>
          <p:nvPr/>
        </p:nvPicPr>
        <p:blipFill rotWithShape="1">
          <a:blip r:embed="rId3"/>
          <a:srcRect l="5518" t="55737" r="5518" b="6583"/>
          <a:stretch/>
        </p:blipFill>
        <p:spPr>
          <a:xfrm>
            <a:off x="1301898" y="4006617"/>
            <a:ext cx="3841673" cy="1523967"/>
          </a:xfrm>
          <a:prstGeom prst="rect">
            <a:avLst/>
          </a:prstGeom>
          <a:ln w="19050">
            <a:solidFill>
              <a:schemeClr val="bg1"/>
            </a:solidFill>
          </a:ln>
        </p:spPr>
      </p:pic>
      <p:pic>
        <p:nvPicPr>
          <p:cNvPr id="21" name="Picture 20">
            <a:extLst>
              <a:ext uri="{FF2B5EF4-FFF2-40B4-BE49-F238E27FC236}">
                <a16:creationId xmlns:a16="http://schemas.microsoft.com/office/drawing/2014/main" id="{3419B289-A463-43CE-B108-84AED1E98A3F}"/>
              </a:ext>
            </a:extLst>
          </p:cNvPr>
          <p:cNvPicPr>
            <a:picLocks noChangeAspect="1"/>
          </p:cNvPicPr>
          <p:nvPr/>
        </p:nvPicPr>
        <p:blipFill rotWithShape="1">
          <a:blip r:embed="rId4"/>
          <a:srcRect t="30096"/>
          <a:stretch/>
        </p:blipFill>
        <p:spPr>
          <a:xfrm>
            <a:off x="6380845" y="4006619"/>
            <a:ext cx="3873821" cy="1523966"/>
          </a:xfrm>
          <a:prstGeom prst="rect">
            <a:avLst/>
          </a:prstGeom>
        </p:spPr>
      </p:pic>
      <p:cxnSp>
        <p:nvCxnSpPr>
          <p:cNvPr id="16" name="Straight Connector 15">
            <a:extLst>
              <a:ext uri="{FF2B5EF4-FFF2-40B4-BE49-F238E27FC236}">
                <a16:creationId xmlns:a16="http://schemas.microsoft.com/office/drawing/2014/main" id="{00238E22-B529-451B-A0CE-713E37AA66C5}"/>
              </a:ext>
            </a:extLst>
          </p:cNvPr>
          <p:cNvCxnSpPr>
            <a:cxnSpLocks/>
          </p:cNvCxnSpPr>
          <p:nvPr/>
        </p:nvCxnSpPr>
        <p:spPr>
          <a:xfrm>
            <a:off x="719159" y="1707557"/>
            <a:ext cx="10552265"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12"/>
          </p:nvPr>
        </p:nvSpPr>
        <p:spPr/>
        <p:txBody>
          <a:bodyPr/>
          <a:lstStyle/>
          <a:p>
            <a:fld id="{FD9C4343-C115-504A-8D4F-0B17318D4A48}" type="slidenum">
              <a:rPr lang="en-US" smtClean="0"/>
              <a:pPr/>
              <a:t>10</a:t>
            </a:fld>
            <a:endParaRPr lang="en-US"/>
          </a:p>
        </p:txBody>
      </p:sp>
      <p:sp>
        <p:nvSpPr>
          <p:cNvPr id="3" name="Title 2">
            <a:extLst>
              <a:ext uri="{FF2B5EF4-FFF2-40B4-BE49-F238E27FC236}">
                <a16:creationId xmlns:a16="http://schemas.microsoft.com/office/drawing/2014/main" id="{3584770E-44A4-44C5-AA14-7279D4E913FA}"/>
              </a:ext>
            </a:extLst>
          </p:cNvPr>
          <p:cNvSpPr>
            <a:spLocks noGrp="1"/>
          </p:cNvSpPr>
          <p:nvPr>
            <p:ph type="title"/>
          </p:nvPr>
        </p:nvSpPr>
        <p:spPr/>
        <p:txBody>
          <a:bodyPr/>
          <a:lstStyle/>
          <a:p>
            <a:r>
              <a:rPr lang="en-US"/>
              <a:t>Production methods for cookware </a:t>
            </a:r>
          </a:p>
        </p:txBody>
      </p:sp>
      <p:sp>
        <p:nvSpPr>
          <p:cNvPr id="6" name="TextBox 5">
            <a:extLst>
              <a:ext uri="{FF2B5EF4-FFF2-40B4-BE49-F238E27FC236}">
                <a16:creationId xmlns:a16="http://schemas.microsoft.com/office/drawing/2014/main" id="{C35BEAAB-B7FE-4FC4-84DC-D9BD125E0633}"/>
              </a:ext>
            </a:extLst>
          </p:cNvPr>
          <p:cNvSpPr txBox="1"/>
          <p:nvPr/>
        </p:nvSpPr>
        <p:spPr>
          <a:xfrm>
            <a:off x="1814550" y="1149137"/>
            <a:ext cx="3329021" cy="584775"/>
          </a:xfrm>
          <a:prstGeom prst="rect">
            <a:avLst/>
          </a:prstGeom>
          <a:noFill/>
        </p:spPr>
        <p:txBody>
          <a:bodyPr wrap="square">
            <a:spAutoFit/>
          </a:bodyPr>
          <a:lstStyle/>
          <a:p>
            <a:pPr algn="r"/>
            <a:r>
              <a:rPr lang="en-US" sz="3200" b="1" spc="-150">
                <a:solidFill>
                  <a:schemeClr val="accent4"/>
                </a:solidFill>
              </a:rPr>
              <a:t>Pre coating</a:t>
            </a:r>
          </a:p>
        </p:txBody>
      </p:sp>
      <p:sp>
        <p:nvSpPr>
          <p:cNvPr id="10" name="TextBox 9">
            <a:extLst>
              <a:ext uri="{FF2B5EF4-FFF2-40B4-BE49-F238E27FC236}">
                <a16:creationId xmlns:a16="http://schemas.microsoft.com/office/drawing/2014/main" id="{613746BA-7C3C-472E-A4EA-72C022F4C7EA}"/>
              </a:ext>
            </a:extLst>
          </p:cNvPr>
          <p:cNvSpPr txBox="1"/>
          <p:nvPr/>
        </p:nvSpPr>
        <p:spPr>
          <a:xfrm>
            <a:off x="6289595" y="1149137"/>
            <a:ext cx="4119984" cy="584775"/>
          </a:xfrm>
          <a:prstGeom prst="rect">
            <a:avLst/>
          </a:prstGeom>
          <a:noFill/>
        </p:spPr>
        <p:txBody>
          <a:bodyPr wrap="square">
            <a:spAutoFit/>
          </a:bodyPr>
          <a:lstStyle/>
          <a:p>
            <a:r>
              <a:rPr lang="en-US" sz="3200" b="1" spc="-150">
                <a:solidFill>
                  <a:schemeClr val="accent6"/>
                </a:solidFill>
              </a:rPr>
              <a:t>Post coating </a:t>
            </a:r>
          </a:p>
        </p:txBody>
      </p:sp>
      <p:sp>
        <p:nvSpPr>
          <p:cNvPr id="12" name="TextBox 11">
            <a:extLst>
              <a:ext uri="{FF2B5EF4-FFF2-40B4-BE49-F238E27FC236}">
                <a16:creationId xmlns:a16="http://schemas.microsoft.com/office/drawing/2014/main" id="{93203024-3183-494D-BA30-16DCBC63E9AD}"/>
              </a:ext>
            </a:extLst>
          </p:cNvPr>
          <p:cNvSpPr txBox="1"/>
          <p:nvPr/>
        </p:nvSpPr>
        <p:spPr>
          <a:xfrm>
            <a:off x="5400506" y="1179656"/>
            <a:ext cx="679955" cy="679414"/>
          </a:xfrm>
          <a:prstGeom prst="ellipse">
            <a:avLst/>
          </a:prstGeom>
          <a:solidFill>
            <a:schemeClr val="accent1"/>
          </a:solidFill>
          <a:ln w="57150">
            <a:solidFill>
              <a:schemeClr val="bg1"/>
            </a:solidFill>
          </a:ln>
        </p:spPr>
        <p:txBody>
          <a:bodyPr wrap="none" lIns="0" tIns="0" rIns="0" bIns="91416" anchor="ctr">
            <a:noAutofit/>
          </a:bodyPr>
          <a:lstStyle/>
          <a:p>
            <a:pPr algn="ctr"/>
            <a:r>
              <a:rPr lang="en-US" sz="2400">
                <a:solidFill>
                  <a:schemeClr val="bg1"/>
                </a:solidFill>
              </a:rPr>
              <a:t>vs</a:t>
            </a:r>
          </a:p>
        </p:txBody>
      </p:sp>
      <p:sp>
        <p:nvSpPr>
          <p:cNvPr id="15" name="Content Placeholder 8">
            <a:extLst>
              <a:ext uri="{FF2B5EF4-FFF2-40B4-BE49-F238E27FC236}">
                <a16:creationId xmlns:a16="http://schemas.microsoft.com/office/drawing/2014/main" id="{450A9894-2D69-4501-9F8F-500F22C56912}"/>
              </a:ext>
            </a:extLst>
          </p:cNvPr>
          <p:cNvSpPr txBox="1">
            <a:spLocks/>
          </p:cNvSpPr>
          <p:nvPr/>
        </p:nvSpPr>
        <p:spPr>
          <a:xfrm>
            <a:off x="1152854" y="2023036"/>
            <a:ext cx="3914068" cy="1706577"/>
          </a:xfrm>
          <a:prstGeom prst="rect">
            <a:avLst/>
          </a:prstGeom>
        </p:spPr>
        <p:txBody>
          <a:bodyPr vert="horz" lIns="0" tIns="0" rIns="0" bIns="0" rtlCol="0" anchor="t">
            <a:no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gn="r">
              <a:lnSpc>
                <a:spcPct val="90000"/>
              </a:lnSpc>
              <a:spcBef>
                <a:spcPts val="1200"/>
              </a:spcBef>
              <a:buFont typeface="Arial" panose="020B0604020202020204" pitchFamily="34" charset="0"/>
              <a:buNone/>
            </a:pPr>
            <a:r>
              <a:rPr lang="en-US" sz="2000"/>
              <a:t>Before forming the article</a:t>
            </a:r>
          </a:p>
          <a:p>
            <a:pPr marL="0" indent="0" algn="r">
              <a:lnSpc>
                <a:spcPct val="90000"/>
              </a:lnSpc>
              <a:spcBef>
                <a:spcPts val="1200"/>
              </a:spcBef>
              <a:buFont typeface="Arial" panose="020B0604020202020204" pitchFamily="34" charset="0"/>
              <a:buNone/>
            </a:pPr>
            <a:r>
              <a:rPr lang="en-US" sz="2000"/>
              <a:t>Coatings are a compromise of damage resistance and flexibility</a:t>
            </a:r>
          </a:p>
          <a:p>
            <a:pPr marL="0" indent="0" algn="r">
              <a:lnSpc>
                <a:spcPct val="90000"/>
              </a:lnSpc>
              <a:spcBef>
                <a:spcPts val="1200"/>
              </a:spcBef>
              <a:buFont typeface="Arial" panose="020B0604020202020204" pitchFamily="34" charset="0"/>
              <a:buNone/>
            </a:pPr>
            <a:r>
              <a:rPr lang="en-US" sz="2000"/>
              <a:t>Application is fast </a:t>
            </a:r>
            <a:br>
              <a:rPr lang="en-US" sz="2000"/>
            </a:br>
            <a:r>
              <a:rPr lang="en-US" sz="2000"/>
              <a:t>and efficient</a:t>
            </a:r>
          </a:p>
          <a:p>
            <a:pPr marL="0" indent="0" algn="r">
              <a:lnSpc>
                <a:spcPct val="90000"/>
              </a:lnSpc>
              <a:spcBef>
                <a:spcPts val="1200"/>
              </a:spcBef>
              <a:buFont typeface="Arial" panose="020B0604020202020204" pitchFamily="34" charset="0"/>
              <a:buNone/>
            </a:pPr>
            <a:endParaRPr lang="en-US" sz="2000"/>
          </a:p>
        </p:txBody>
      </p:sp>
      <p:sp>
        <p:nvSpPr>
          <p:cNvPr id="17" name="TextBox 16">
            <a:extLst>
              <a:ext uri="{FF2B5EF4-FFF2-40B4-BE49-F238E27FC236}">
                <a16:creationId xmlns:a16="http://schemas.microsoft.com/office/drawing/2014/main" id="{6DB0E31E-DDEC-459C-8CEF-D6540D4AB2E4}"/>
              </a:ext>
            </a:extLst>
          </p:cNvPr>
          <p:cNvSpPr txBox="1"/>
          <p:nvPr/>
        </p:nvSpPr>
        <p:spPr>
          <a:xfrm>
            <a:off x="6289595" y="2023661"/>
            <a:ext cx="3260837" cy="1706059"/>
          </a:xfrm>
          <a:prstGeom prst="rect">
            <a:avLst/>
          </a:prstGeom>
          <a:noFill/>
        </p:spPr>
        <p:txBody>
          <a:bodyPr wrap="square" lIns="91440" tIns="45720" rIns="91440" bIns="45720" anchor="t">
            <a:noAutofit/>
          </a:bodyPr>
          <a:lstStyle/>
          <a:p>
            <a:pPr>
              <a:lnSpc>
                <a:spcPct val="90000"/>
              </a:lnSpc>
              <a:spcBef>
                <a:spcPts val="1200"/>
              </a:spcBef>
            </a:pPr>
            <a:r>
              <a:rPr lang="en-US" sz="2000"/>
              <a:t>After forming the article</a:t>
            </a:r>
          </a:p>
          <a:p>
            <a:pPr>
              <a:lnSpc>
                <a:spcPct val="90000"/>
              </a:lnSpc>
              <a:spcBef>
                <a:spcPts val="1200"/>
              </a:spcBef>
            </a:pPr>
            <a:r>
              <a:rPr lang="en-US" sz="2000"/>
              <a:t>Coatings focused </a:t>
            </a:r>
            <a:br>
              <a:rPr lang="en-US" sz="2000"/>
            </a:br>
            <a:r>
              <a:rPr lang="en-US" sz="2000"/>
              <a:t>on high performance</a:t>
            </a:r>
          </a:p>
          <a:p>
            <a:pPr>
              <a:lnSpc>
                <a:spcPct val="90000"/>
              </a:lnSpc>
              <a:spcBef>
                <a:spcPts val="1200"/>
              </a:spcBef>
            </a:pPr>
            <a:r>
              <a:rPr lang="en-US" sz="2000"/>
              <a:t>Application is </a:t>
            </a:r>
            <a:br>
              <a:rPr lang="en-US" sz="2000"/>
            </a:br>
            <a:r>
              <a:rPr lang="en-US" sz="2000"/>
              <a:t>less efficient</a:t>
            </a:r>
          </a:p>
        </p:txBody>
      </p:sp>
      <p:sp>
        <p:nvSpPr>
          <p:cNvPr id="7" name="Rectangle 6">
            <a:extLst>
              <a:ext uri="{FF2B5EF4-FFF2-40B4-BE49-F238E27FC236}">
                <a16:creationId xmlns:a16="http://schemas.microsoft.com/office/drawing/2014/main" id="{098B1ED5-8B1A-4884-8A2E-A402B5050FA9}"/>
              </a:ext>
            </a:extLst>
          </p:cNvPr>
          <p:cNvSpPr/>
          <p:nvPr/>
        </p:nvSpPr>
        <p:spPr>
          <a:xfrm>
            <a:off x="6380845" y="5538604"/>
            <a:ext cx="3873820" cy="422155"/>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82880" tIns="45720" rIns="91440" bIns="45720" rtlCol="0" anchor="ctr"/>
          <a:lstStyle/>
          <a:p>
            <a:pPr algn="ctr">
              <a:lnSpc>
                <a:spcPct val="90000"/>
              </a:lnSpc>
              <a:spcBef>
                <a:spcPts val="600"/>
              </a:spcBef>
            </a:pPr>
            <a:r>
              <a:rPr lang="en-US"/>
              <a:t>S</a:t>
            </a:r>
            <a:r>
              <a:rPr lang="en-US" sz="1800"/>
              <a:t>pray coating for cookware</a:t>
            </a:r>
          </a:p>
        </p:txBody>
      </p:sp>
      <p:sp>
        <p:nvSpPr>
          <p:cNvPr id="18" name="Rectangle 17">
            <a:extLst>
              <a:ext uri="{FF2B5EF4-FFF2-40B4-BE49-F238E27FC236}">
                <a16:creationId xmlns:a16="http://schemas.microsoft.com/office/drawing/2014/main" id="{CE970C7C-CB1C-4596-905D-F677E30F365C}"/>
              </a:ext>
            </a:extLst>
          </p:cNvPr>
          <p:cNvSpPr/>
          <p:nvPr/>
        </p:nvSpPr>
        <p:spPr>
          <a:xfrm>
            <a:off x="1301898" y="5538604"/>
            <a:ext cx="3841673" cy="42215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40" tIns="45720" rIns="182880" bIns="45720" rtlCol="0" anchor="ctr"/>
          <a:lstStyle/>
          <a:p>
            <a:pPr marL="0" indent="0" algn="ctr">
              <a:lnSpc>
                <a:spcPct val="90000"/>
              </a:lnSpc>
              <a:spcBef>
                <a:spcPts val="600"/>
              </a:spcBef>
              <a:buNone/>
            </a:pPr>
            <a:r>
              <a:rPr lang="en-US"/>
              <a:t>Roller coating for cookware</a:t>
            </a:r>
          </a:p>
        </p:txBody>
      </p:sp>
    </p:spTree>
    <p:extLst>
      <p:ext uri="{BB962C8B-B14F-4D97-AF65-F5344CB8AC3E}">
        <p14:creationId xmlns:p14="http://schemas.microsoft.com/office/powerpoint/2010/main" val="17097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FD9C4343-C115-504A-8D4F-0B17318D4A48}" type="slidenum">
              <a:rPr lang="en-US" smtClean="0"/>
              <a:pPr/>
              <a:t>11</a:t>
            </a:fld>
            <a:endParaRPr lang="en-US"/>
          </a:p>
        </p:txBody>
      </p:sp>
      <p:sp>
        <p:nvSpPr>
          <p:cNvPr id="5" name="Title 4"/>
          <p:cNvSpPr>
            <a:spLocks noGrp="1"/>
          </p:cNvSpPr>
          <p:nvPr>
            <p:ph type="title"/>
          </p:nvPr>
        </p:nvSpPr>
        <p:spPr>
          <a:xfrm>
            <a:off x="312801" y="323848"/>
            <a:ext cx="7029695" cy="859536"/>
          </a:xfrm>
        </p:spPr>
        <p:txBody>
          <a:bodyPr/>
          <a:lstStyle/>
          <a:p>
            <a:r>
              <a:rPr lang="en-US"/>
              <a:t>Spray application of a multi-coat system</a:t>
            </a:r>
          </a:p>
        </p:txBody>
      </p:sp>
      <p:sp>
        <p:nvSpPr>
          <p:cNvPr id="33" name="AutoShape 8"/>
          <p:cNvSpPr>
            <a:spLocks noChangeArrowheads="1"/>
          </p:cNvSpPr>
          <p:nvPr/>
        </p:nvSpPr>
        <p:spPr bwMode="auto">
          <a:xfrm>
            <a:off x="281153" y="3316215"/>
            <a:ext cx="2793790" cy="1173549"/>
          </a:xfrm>
          <a:prstGeom prst="rect">
            <a:avLst/>
          </a:prstGeom>
          <a:solidFill>
            <a:schemeClr val="accent1"/>
          </a:solidFill>
          <a:ln w="12700">
            <a:solidFill>
              <a:schemeClr val="bg1"/>
            </a:solidFill>
            <a:round/>
            <a:headEnd/>
            <a:tailEnd/>
          </a:ln>
        </p:spPr>
        <p:txBody>
          <a:bodyPr wrap="square" lIns="365760" tIns="45720" rIns="0" bIns="4572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panose="020B0604020202020204" pitchFamily="34" charset="0"/>
              </a:rPr>
              <a:t>Application of</a:t>
            </a:r>
          </a:p>
          <a:p>
            <a:pPr>
              <a:lnSpc>
                <a:spcPct val="90000"/>
              </a:lnSpc>
              <a:spcBef>
                <a:spcPct val="0"/>
              </a:spcBef>
              <a:buFontTx/>
              <a:buNone/>
            </a:pPr>
            <a:r>
              <a:rPr lang="en-US" altLang="en-US" sz="1600" b="1">
                <a:solidFill>
                  <a:schemeClr val="bg1"/>
                </a:solidFill>
                <a:latin typeface="Arial"/>
                <a:ea typeface="MS PGothic"/>
                <a:cs typeface="Arial"/>
              </a:rPr>
              <a:t>Topcoat </a:t>
            </a:r>
            <a:endParaRPr lang="en-US" altLang="en-US" sz="1600" b="1">
              <a:solidFill>
                <a:schemeClr val="bg1"/>
              </a:solidFill>
              <a:latin typeface="Arial" panose="020B0604020202020204" pitchFamily="34" charset="0"/>
              <a:cs typeface="Arial"/>
            </a:endParaRPr>
          </a:p>
        </p:txBody>
      </p:sp>
      <p:sp>
        <p:nvSpPr>
          <p:cNvPr id="34" name="AutoShape 9"/>
          <p:cNvSpPr>
            <a:spLocks noChangeArrowheads="1"/>
          </p:cNvSpPr>
          <p:nvPr/>
        </p:nvSpPr>
        <p:spPr bwMode="auto">
          <a:xfrm>
            <a:off x="3166365" y="3316215"/>
            <a:ext cx="2994859" cy="1173549"/>
          </a:xfrm>
          <a:prstGeom prst="rect">
            <a:avLst/>
          </a:prstGeom>
          <a:solidFill>
            <a:schemeClr val="accent1"/>
          </a:solidFill>
          <a:ln w="12700">
            <a:solidFill>
              <a:schemeClr val="bg1"/>
            </a:solidFill>
            <a:round/>
            <a:headEnd/>
            <a:tailEnd/>
          </a:ln>
        </p:spPr>
        <p:txBody>
          <a:bodyPr wrap="square" lIns="365760" r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panose="020B0604020202020204" pitchFamily="34" charset="0"/>
              </a:rPr>
              <a:t>Curing of coating </a:t>
            </a:r>
            <a:br>
              <a:rPr lang="en-US" altLang="en-US" sz="1600" b="1">
                <a:solidFill>
                  <a:schemeClr val="bg1"/>
                </a:solidFill>
                <a:latin typeface="Arial" panose="020B0604020202020204" pitchFamily="34" charset="0"/>
              </a:rPr>
            </a:br>
            <a:r>
              <a:rPr lang="en-US" altLang="en-US" sz="1600" b="1">
                <a:solidFill>
                  <a:schemeClr val="bg1"/>
                </a:solidFill>
                <a:latin typeface="Arial" panose="020B0604020202020204" pitchFamily="34" charset="0"/>
              </a:rPr>
              <a:t>at 400-430º C </a:t>
            </a:r>
            <a:br>
              <a:rPr lang="en-US" altLang="en-US" sz="1600" b="1">
                <a:solidFill>
                  <a:schemeClr val="bg1"/>
                </a:solidFill>
                <a:latin typeface="Arial" panose="020B0604020202020204" pitchFamily="34" charset="0"/>
              </a:rPr>
            </a:br>
            <a:r>
              <a:rPr lang="en-US" altLang="en-US" sz="1600" b="1">
                <a:solidFill>
                  <a:schemeClr val="bg1"/>
                </a:solidFill>
                <a:latin typeface="Arial" panose="020B0604020202020204" pitchFamily="34" charset="0"/>
              </a:rPr>
              <a:t>for 4-5 minutes</a:t>
            </a:r>
          </a:p>
        </p:txBody>
      </p:sp>
      <p:sp>
        <p:nvSpPr>
          <p:cNvPr id="43" name="AutoShape 18"/>
          <p:cNvSpPr>
            <a:spLocks noChangeArrowheads="1"/>
          </p:cNvSpPr>
          <p:nvPr/>
        </p:nvSpPr>
        <p:spPr bwMode="auto">
          <a:xfrm>
            <a:off x="6252645" y="3316215"/>
            <a:ext cx="2793790" cy="1173549"/>
          </a:xfrm>
          <a:prstGeom prst="rect">
            <a:avLst/>
          </a:prstGeom>
          <a:solidFill>
            <a:schemeClr val="accent1"/>
          </a:solidFill>
          <a:ln w="12700">
            <a:solidFill>
              <a:schemeClr val="bg1"/>
            </a:solidFill>
            <a:round/>
            <a:headEnd/>
            <a:tailEnd/>
          </a:ln>
        </p:spPr>
        <p:txBody>
          <a:bodyPr wrap="square" lIns="365760" tIns="45720" rIns="0" bIns="4572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panose="020B0604020202020204" pitchFamily="34" charset="0"/>
              </a:rPr>
              <a:t>Exterior coating </a:t>
            </a:r>
          </a:p>
          <a:p>
            <a:pPr>
              <a:lnSpc>
                <a:spcPct val="90000"/>
              </a:lnSpc>
              <a:spcBef>
                <a:spcPct val="0"/>
              </a:spcBef>
              <a:buFontTx/>
              <a:buNone/>
            </a:pPr>
            <a:r>
              <a:rPr lang="en-US" altLang="en-US" sz="1600" b="1">
                <a:solidFill>
                  <a:schemeClr val="bg1"/>
                </a:solidFill>
                <a:latin typeface="Arial"/>
                <a:ea typeface="MS PGothic"/>
                <a:cs typeface="Arial"/>
              </a:rPr>
              <a:t>application, if required</a:t>
            </a:r>
          </a:p>
        </p:txBody>
      </p:sp>
      <p:sp>
        <p:nvSpPr>
          <p:cNvPr id="44" name="AutoShape 19"/>
          <p:cNvSpPr>
            <a:spLocks noChangeArrowheads="1"/>
          </p:cNvSpPr>
          <p:nvPr/>
        </p:nvSpPr>
        <p:spPr bwMode="auto">
          <a:xfrm>
            <a:off x="9137858" y="3316215"/>
            <a:ext cx="2793790" cy="1173549"/>
          </a:xfrm>
          <a:prstGeom prst="rect">
            <a:avLst/>
          </a:prstGeom>
          <a:solidFill>
            <a:schemeClr val="accent1"/>
          </a:solidFill>
          <a:ln w="12700">
            <a:solidFill>
              <a:schemeClr val="bg1"/>
            </a:solidFill>
            <a:round/>
            <a:headEnd/>
            <a:tailEnd/>
          </a:ln>
        </p:spPr>
        <p:txBody>
          <a:bodyPr wrap="square" lIns="365760" tIns="45720" rIns="0" bIns="4572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panose="020B0604020202020204" pitchFamily="34" charset="0"/>
              </a:rPr>
              <a:t>Decoration, </a:t>
            </a:r>
          </a:p>
          <a:p>
            <a:pPr>
              <a:lnSpc>
                <a:spcPct val="90000"/>
              </a:lnSpc>
              <a:spcBef>
                <a:spcPct val="0"/>
              </a:spcBef>
              <a:buFontTx/>
              <a:buNone/>
            </a:pPr>
            <a:r>
              <a:rPr lang="en-US" altLang="en-US" sz="1600" b="1">
                <a:solidFill>
                  <a:schemeClr val="bg1"/>
                </a:solidFill>
                <a:latin typeface="Arial"/>
                <a:ea typeface="MS PGothic"/>
                <a:cs typeface="Arial"/>
              </a:rPr>
              <a:t>Inspection, Assembly</a:t>
            </a:r>
            <a:endParaRPr lang="en-US" altLang="en-US" sz="1600" b="1">
              <a:solidFill>
                <a:schemeClr val="bg1"/>
              </a:solidFill>
              <a:latin typeface="Arial" panose="020B0604020202020204" pitchFamily="34" charset="0"/>
              <a:cs typeface="Arial"/>
            </a:endParaRPr>
          </a:p>
        </p:txBody>
      </p:sp>
      <p:sp>
        <p:nvSpPr>
          <p:cNvPr id="48" name="Oval 47">
            <a:extLst>
              <a:ext uri="{FF2B5EF4-FFF2-40B4-BE49-F238E27FC236}">
                <a16:creationId xmlns:a16="http://schemas.microsoft.com/office/drawing/2014/main" id="{AAB7A9E3-D8F1-4819-B7BA-00EB4892AA2A}"/>
              </a:ext>
            </a:extLst>
          </p:cNvPr>
          <p:cNvSpPr/>
          <p:nvPr/>
        </p:nvSpPr>
        <p:spPr>
          <a:xfrm>
            <a:off x="378843" y="3199664"/>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6</a:t>
            </a:r>
          </a:p>
        </p:txBody>
      </p:sp>
      <p:sp>
        <p:nvSpPr>
          <p:cNvPr id="49" name="Oval 48">
            <a:extLst>
              <a:ext uri="{FF2B5EF4-FFF2-40B4-BE49-F238E27FC236}">
                <a16:creationId xmlns:a16="http://schemas.microsoft.com/office/drawing/2014/main" id="{61A7BE21-7DEA-4888-8410-55D5F3B449B6}"/>
              </a:ext>
            </a:extLst>
          </p:cNvPr>
          <p:cNvSpPr/>
          <p:nvPr/>
        </p:nvSpPr>
        <p:spPr>
          <a:xfrm>
            <a:off x="3234015" y="3199664"/>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7</a:t>
            </a:r>
          </a:p>
        </p:txBody>
      </p:sp>
      <p:sp>
        <p:nvSpPr>
          <p:cNvPr id="50" name="Oval 49">
            <a:extLst>
              <a:ext uri="{FF2B5EF4-FFF2-40B4-BE49-F238E27FC236}">
                <a16:creationId xmlns:a16="http://schemas.microsoft.com/office/drawing/2014/main" id="{4B3D794D-FE51-4B8A-B8EA-73943A4CA411}"/>
              </a:ext>
            </a:extLst>
          </p:cNvPr>
          <p:cNvSpPr/>
          <p:nvPr/>
        </p:nvSpPr>
        <p:spPr>
          <a:xfrm>
            <a:off x="6326862" y="3199664"/>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8</a:t>
            </a:r>
          </a:p>
        </p:txBody>
      </p:sp>
      <p:sp>
        <p:nvSpPr>
          <p:cNvPr id="51" name="Oval 50">
            <a:extLst>
              <a:ext uri="{FF2B5EF4-FFF2-40B4-BE49-F238E27FC236}">
                <a16:creationId xmlns:a16="http://schemas.microsoft.com/office/drawing/2014/main" id="{FFA68304-A267-49DF-AA2D-9E205914858F}"/>
              </a:ext>
            </a:extLst>
          </p:cNvPr>
          <p:cNvSpPr/>
          <p:nvPr/>
        </p:nvSpPr>
        <p:spPr>
          <a:xfrm>
            <a:off x="9201597" y="3199664"/>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9</a:t>
            </a:r>
          </a:p>
        </p:txBody>
      </p:sp>
      <p:sp>
        <p:nvSpPr>
          <p:cNvPr id="38" name="Arrow: Right 37">
            <a:extLst>
              <a:ext uri="{FF2B5EF4-FFF2-40B4-BE49-F238E27FC236}">
                <a16:creationId xmlns:a16="http://schemas.microsoft.com/office/drawing/2014/main" id="{F789273A-B165-4594-8C09-17EA6C4F92FF}"/>
              </a:ext>
            </a:extLst>
          </p:cNvPr>
          <p:cNvSpPr/>
          <p:nvPr/>
        </p:nvSpPr>
        <p:spPr>
          <a:xfrm>
            <a:off x="3074943" y="3791247"/>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Arrow: Right 38">
            <a:extLst>
              <a:ext uri="{FF2B5EF4-FFF2-40B4-BE49-F238E27FC236}">
                <a16:creationId xmlns:a16="http://schemas.microsoft.com/office/drawing/2014/main" id="{4D5EA482-3DFF-4609-83D1-77B576F2411D}"/>
              </a:ext>
            </a:extLst>
          </p:cNvPr>
          <p:cNvSpPr/>
          <p:nvPr/>
        </p:nvSpPr>
        <p:spPr>
          <a:xfrm>
            <a:off x="6161222" y="3773835"/>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Arrow: Right 39">
            <a:extLst>
              <a:ext uri="{FF2B5EF4-FFF2-40B4-BE49-F238E27FC236}">
                <a16:creationId xmlns:a16="http://schemas.microsoft.com/office/drawing/2014/main" id="{7DE11091-0CCB-410F-B043-90E7EBF6A5AF}"/>
              </a:ext>
            </a:extLst>
          </p:cNvPr>
          <p:cNvSpPr/>
          <p:nvPr/>
        </p:nvSpPr>
        <p:spPr>
          <a:xfrm>
            <a:off x="9046435" y="3765461"/>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2470C28A-A051-4FDA-B1CB-6D3471A15A72}"/>
              </a:ext>
            </a:extLst>
          </p:cNvPr>
          <p:cNvSpPr/>
          <p:nvPr/>
        </p:nvSpPr>
        <p:spPr>
          <a:xfrm>
            <a:off x="144379" y="2598821"/>
            <a:ext cx="10385659" cy="1333781"/>
          </a:xfrm>
          <a:custGeom>
            <a:avLst/>
            <a:gdLst>
              <a:gd name="connsiteX0" fmla="*/ 10385659 w 10385659"/>
              <a:gd name="connsiteY0" fmla="*/ 0 h 1424539"/>
              <a:gd name="connsiteX1" fmla="*/ 10385659 w 10385659"/>
              <a:gd name="connsiteY1" fmla="*/ 346510 h 1424539"/>
              <a:gd name="connsiteX2" fmla="*/ 0 w 10385659"/>
              <a:gd name="connsiteY2" fmla="*/ 346510 h 1424539"/>
              <a:gd name="connsiteX3" fmla="*/ 0 w 10385659"/>
              <a:gd name="connsiteY3" fmla="*/ 1424539 h 1424539"/>
              <a:gd name="connsiteX4" fmla="*/ 269507 w 10385659"/>
              <a:gd name="connsiteY4" fmla="*/ 1424539 h 1424539"/>
              <a:gd name="connsiteX0" fmla="*/ 10385659 w 10385659"/>
              <a:gd name="connsiteY0" fmla="*/ 0 h 1424539"/>
              <a:gd name="connsiteX1" fmla="*/ 10385659 w 10385659"/>
              <a:gd name="connsiteY1" fmla="*/ 346510 h 1424539"/>
              <a:gd name="connsiteX2" fmla="*/ 0 w 10385659"/>
              <a:gd name="connsiteY2" fmla="*/ 346510 h 1424539"/>
              <a:gd name="connsiteX3" fmla="*/ 0 w 10385659"/>
              <a:gd name="connsiteY3" fmla="*/ 1424539 h 1424539"/>
              <a:gd name="connsiteX4" fmla="*/ 423511 w 10385659"/>
              <a:gd name="connsiteY4" fmla="*/ 1424539 h 1424539"/>
              <a:gd name="connsiteX0" fmla="*/ 10385659 w 10385659"/>
              <a:gd name="connsiteY0" fmla="*/ 0 h 1424539"/>
              <a:gd name="connsiteX1" fmla="*/ 10385659 w 10385659"/>
              <a:gd name="connsiteY1" fmla="*/ 346510 h 1424539"/>
              <a:gd name="connsiteX2" fmla="*/ 0 w 10385659"/>
              <a:gd name="connsiteY2" fmla="*/ 346510 h 1424539"/>
              <a:gd name="connsiteX3" fmla="*/ 0 w 10385659"/>
              <a:gd name="connsiteY3" fmla="*/ 1424539 h 1424539"/>
              <a:gd name="connsiteX4" fmla="*/ 462012 w 10385659"/>
              <a:gd name="connsiteY4" fmla="*/ 1424539 h 1424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5659" h="1424539">
                <a:moveTo>
                  <a:pt x="10385659" y="0"/>
                </a:moveTo>
                <a:lnTo>
                  <a:pt x="10385659" y="346510"/>
                </a:lnTo>
                <a:lnTo>
                  <a:pt x="0" y="346510"/>
                </a:lnTo>
                <a:lnTo>
                  <a:pt x="0" y="1424539"/>
                </a:lnTo>
                <a:lnTo>
                  <a:pt x="462012" y="1424539"/>
                </a:lnTo>
              </a:path>
            </a:pathLst>
          </a:custGeom>
          <a:noFill/>
          <a:ln w="117475">
            <a:solidFill>
              <a:schemeClr val="accent2"/>
            </a:solidFill>
            <a:miter lim="800000"/>
            <a:tailEnd type="triangle" w="med" len="sm"/>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AutoShape 3"/>
          <p:cNvSpPr>
            <a:spLocks noChangeArrowheads="1"/>
          </p:cNvSpPr>
          <p:nvPr/>
        </p:nvSpPr>
        <p:spPr bwMode="auto">
          <a:xfrm>
            <a:off x="307975" y="1435514"/>
            <a:ext cx="2244708" cy="1173549"/>
          </a:xfrm>
          <a:prstGeom prst="rect">
            <a:avLst/>
          </a:prstGeom>
          <a:solidFill>
            <a:schemeClr val="accent1"/>
          </a:solidFill>
          <a:ln w="12700">
            <a:solidFill>
              <a:schemeClr val="bg1"/>
            </a:solidFill>
            <a:round/>
            <a:headEnd/>
            <a:tailEnd/>
          </a:ln>
        </p:spPr>
        <p:txBody>
          <a:bodyPr wrap="square" lIns="365760" r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panose="020B0604020202020204" pitchFamily="34" charset="0"/>
              </a:rPr>
              <a:t>Forming</a:t>
            </a:r>
          </a:p>
        </p:txBody>
      </p:sp>
      <p:sp>
        <p:nvSpPr>
          <p:cNvPr id="29" name="AutoShape 4"/>
          <p:cNvSpPr>
            <a:spLocks noChangeArrowheads="1"/>
          </p:cNvSpPr>
          <p:nvPr/>
        </p:nvSpPr>
        <p:spPr bwMode="auto">
          <a:xfrm>
            <a:off x="2652716" y="1435514"/>
            <a:ext cx="2244708" cy="1173549"/>
          </a:xfrm>
          <a:prstGeom prst="rect">
            <a:avLst/>
          </a:prstGeom>
          <a:solidFill>
            <a:schemeClr val="accent1"/>
          </a:solidFill>
          <a:ln w="12700">
            <a:solidFill>
              <a:schemeClr val="bg1"/>
            </a:solidFill>
            <a:round/>
            <a:headEnd/>
            <a:tailEnd/>
          </a:ln>
        </p:spPr>
        <p:txBody>
          <a:bodyPr wrap="square" lIns="365760" r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panose="020B0604020202020204" pitchFamily="34" charset="0"/>
              </a:rPr>
              <a:t>Mechanical</a:t>
            </a:r>
          </a:p>
          <a:p>
            <a:pPr>
              <a:lnSpc>
                <a:spcPct val="90000"/>
              </a:lnSpc>
              <a:spcBef>
                <a:spcPct val="0"/>
              </a:spcBef>
              <a:buFontTx/>
              <a:buNone/>
            </a:pPr>
            <a:r>
              <a:rPr lang="en-US" altLang="en-US" sz="1600" b="1">
                <a:solidFill>
                  <a:schemeClr val="bg1"/>
                </a:solidFill>
                <a:latin typeface="Arial" panose="020B0604020202020204" pitchFamily="34" charset="0"/>
              </a:rPr>
              <a:t>roughening	</a:t>
            </a:r>
          </a:p>
        </p:txBody>
      </p:sp>
      <p:sp>
        <p:nvSpPr>
          <p:cNvPr id="30" name="AutoShape 5"/>
          <p:cNvSpPr>
            <a:spLocks noChangeArrowheads="1"/>
          </p:cNvSpPr>
          <p:nvPr/>
        </p:nvSpPr>
        <p:spPr bwMode="auto">
          <a:xfrm>
            <a:off x="4997457" y="1435514"/>
            <a:ext cx="2244708" cy="1173549"/>
          </a:xfrm>
          <a:prstGeom prst="rect">
            <a:avLst/>
          </a:prstGeom>
          <a:solidFill>
            <a:schemeClr val="accent1"/>
          </a:solidFill>
          <a:ln w="12700">
            <a:solidFill>
              <a:schemeClr val="bg1"/>
            </a:solidFill>
            <a:round/>
            <a:headEnd/>
            <a:tailEnd/>
          </a:ln>
        </p:spPr>
        <p:txBody>
          <a:bodyPr wrap="square" lIns="365760" tIns="45720" rIns="0" bIns="4572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a:ea typeface="MS PGothic"/>
                <a:cs typeface="Arial"/>
              </a:rPr>
              <a:t>Application </a:t>
            </a:r>
            <a:br>
              <a:rPr lang="en-US" altLang="en-US" sz="1600" b="1">
                <a:latin typeface="Arial" panose="020B0604020202020204" pitchFamily="34" charset="0"/>
              </a:rPr>
            </a:br>
            <a:r>
              <a:rPr lang="en-US" altLang="en-US" sz="1600" b="1">
                <a:solidFill>
                  <a:schemeClr val="bg1"/>
                </a:solidFill>
                <a:latin typeface="Arial"/>
                <a:ea typeface="MS PGothic"/>
                <a:cs typeface="Arial"/>
              </a:rPr>
              <a:t>of Primer</a:t>
            </a:r>
            <a:endParaRPr lang="en-US" altLang="en-US" sz="1600" b="1">
              <a:solidFill>
                <a:schemeClr val="bg1"/>
              </a:solidFill>
              <a:latin typeface="Arial" panose="020B0604020202020204" pitchFamily="34" charset="0"/>
            </a:endParaRPr>
          </a:p>
        </p:txBody>
      </p:sp>
      <p:sp>
        <p:nvSpPr>
          <p:cNvPr id="31" name="AutoShape 6"/>
          <p:cNvSpPr>
            <a:spLocks noChangeArrowheads="1"/>
          </p:cNvSpPr>
          <p:nvPr/>
        </p:nvSpPr>
        <p:spPr bwMode="auto">
          <a:xfrm>
            <a:off x="7342199" y="1435514"/>
            <a:ext cx="2244708" cy="1173549"/>
          </a:xfrm>
          <a:prstGeom prst="rect">
            <a:avLst/>
          </a:prstGeom>
          <a:solidFill>
            <a:schemeClr val="accent1"/>
          </a:solidFill>
          <a:ln w="12700">
            <a:solidFill>
              <a:schemeClr val="bg1"/>
            </a:solidFill>
            <a:round/>
            <a:headEnd/>
            <a:tailEnd/>
          </a:ln>
        </p:spPr>
        <p:txBody>
          <a:bodyPr wrap="square" lIns="365760" tIns="45720" rIns="0" bIns="4572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a:ea typeface="MS PGothic"/>
                <a:cs typeface="Arial"/>
              </a:rPr>
              <a:t>Drying of Primer </a:t>
            </a:r>
          </a:p>
          <a:p>
            <a:pPr>
              <a:lnSpc>
                <a:spcPct val="90000"/>
              </a:lnSpc>
              <a:spcBef>
                <a:spcPct val="0"/>
              </a:spcBef>
              <a:buFontTx/>
              <a:buNone/>
            </a:pPr>
            <a:r>
              <a:rPr lang="en-US" altLang="en-US" sz="1600" b="1">
                <a:solidFill>
                  <a:schemeClr val="bg1"/>
                </a:solidFill>
                <a:latin typeface="Arial" panose="020B0604020202020204" pitchFamily="34" charset="0"/>
              </a:rPr>
              <a:t>at ~95-150º C</a:t>
            </a:r>
          </a:p>
        </p:txBody>
      </p:sp>
      <p:sp>
        <p:nvSpPr>
          <p:cNvPr id="32" name="AutoShape 7"/>
          <p:cNvSpPr>
            <a:spLocks noChangeArrowheads="1"/>
          </p:cNvSpPr>
          <p:nvPr/>
        </p:nvSpPr>
        <p:spPr bwMode="auto">
          <a:xfrm>
            <a:off x="9686942" y="1435514"/>
            <a:ext cx="2244708" cy="1173549"/>
          </a:xfrm>
          <a:prstGeom prst="rect">
            <a:avLst/>
          </a:prstGeom>
          <a:solidFill>
            <a:schemeClr val="accent1"/>
          </a:solidFill>
          <a:ln w="12700">
            <a:noFill/>
            <a:round/>
            <a:headEnd/>
            <a:tailEnd/>
          </a:ln>
        </p:spPr>
        <p:txBody>
          <a:bodyPr wrap="square" lIns="365760" tIns="45720" rIns="0" bIns="4572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None/>
            </a:pPr>
            <a:r>
              <a:rPr lang="en-US" altLang="en-US" sz="1600" b="1">
                <a:solidFill>
                  <a:schemeClr val="bg1"/>
                </a:solidFill>
                <a:latin typeface="Arial"/>
                <a:ea typeface="MS PGothic"/>
                <a:cs typeface="Arial"/>
              </a:rPr>
              <a:t>Application </a:t>
            </a:r>
            <a:br>
              <a:rPr lang="en-US" altLang="en-US" sz="1600" b="1">
                <a:latin typeface="Arial" panose="020B0604020202020204" pitchFamily="34" charset="0"/>
              </a:rPr>
            </a:br>
            <a:r>
              <a:rPr lang="en-US" altLang="en-US" sz="1600" b="1">
                <a:solidFill>
                  <a:schemeClr val="bg1"/>
                </a:solidFill>
                <a:latin typeface="Arial"/>
                <a:ea typeface="MS PGothic"/>
                <a:cs typeface="Arial"/>
              </a:rPr>
              <a:t>of </a:t>
            </a:r>
            <a:r>
              <a:rPr lang="en-US" altLang="en-US" sz="1600" b="1" err="1">
                <a:solidFill>
                  <a:schemeClr val="bg1"/>
                </a:solidFill>
                <a:latin typeface="Arial"/>
                <a:ea typeface="MS PGothic"/>
                <a:cs typeface="Arial"/>
              </a:rPr>
              <a:t>Midcoat</a:t>
            </a:r>
            <a:endParaRPr lang="en-US" altLang="en-US" sz="1600" b="1" err="1">
              <a:solidFill>
                <a:schemeClr val="bg1"/>
              </a:solidFill>
              <a:latin typeface="Arial" panose="020B0604020202020204" pitchFamily="34" charset="0"/>
            </a:endParaRPr>
          </a:p>
        </p:txBody>
      </p:sp>
      <p:sp>
        <p:nvSpPr>
          <p:cNvPr id="41" name="Text Box 16"/>
          <p:cNvSpPr txBox="1">
            <a:spLocks noChangeArrowheads="1"/>
          </p:cNvSpPr>
          <p:nvPr/>
        </p:nvSpPr>
        <p:spPr bwMode="auto">
          <a:xfrm>
            <a:off x="312801" y="2798646"/>
            <a:ext cx="1303361" cy="307777"/>
          </a:xfrm>
          <a:prstGeom prst="rect">
            <a:avLst/>
          </a:prstGeom>
          <a:solidFill>
            <a:schemeClr val="bg2"/>
          </a:solidFill>
          <a:ln>
            <a:solidFill>
              <a:schemeClr val="tx1"/>
            </a:solidFill>
          </a:ln>
        </p:spPr>
        <p:txBody>
          <a:bodyPr wrap="square" anchor="ctr">
            <a:spAutoFit/>
          </a:bodyPr>
          <a:lstStyle>
            <a:defPPr>
              <a:defRPr lang="en-US"/>
            </a:defPPr>
            <a:lvl1pPr algn="ctr">
              <a:spcBef>
                <a:spcPct val="50000"/>
              </a:spcBef>
              <a:buFontTx/>
              <a:buNone/>
              <a:defRPr sz="1400" b="1">
                <a:latin typeface="Arial" panose="020B060402020202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en-US" altLang="en-US"/>
              <a:t>Wet on Wet</a:t>
            </a:r>
          </a:p>
        </p:txBody>
      </p:sp>
      <p:sp>
        <p:nvSpPr>
          <p:cNvPr id="42" name="Text Box 17"/>
          <p:cNvSpPr txBox="1">
            <a:spLocks noChangeArrowheads="1"/>
          </p:cNvSpPr>
          <p:nvPr/>
        </p:nvSpPr>
        <p:spPr bwMode="auto">
          <a:xfrm>
            <a:off x="6649060" y="2432338"/>
            <a:ext cx="1199205" cy="307777"/>
          </a:xfrm>
          <a:prstGeom prst="rect">
            <a:avLst/>
          </a:prstGeom>
          <a:solidFill>
            <a:schemeClr val="bg2"/>
          </a:solidFill>
          <a:ln>
            <a:solidFill>
              <a:schemeClr val="tx1"/>
            </a:solidFill>
          </a:ln>
        </p:spPr>
        <p:txBody>
          <a:bodyPr wrap="squar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50000"/>
              </a:spcBef>
              <a:buFontTx/>
              <a:buNone/>
            </a:pPr>
            <a:r>
              <a:rPr lang="en-US" altLang="en-US" sz="1400" b="1">
                <a:latin typeface="Arial" panose="020B0604020202020204" pitchFamily="34" charset="0"/>
              </a:rPr>
              <a:t>Flash Off</a:t>
            </a:r>
            <a:endParaRPr lang="en-US" altLang="en-US" sz="1400" b="1">
              <a:solidFill>
                <a:schemeClr val="bg1"/>
              </a:solidFill>
              <a:latin typeface="Arial" panose="020B0604020202020204" pitchFamily="34" charset="0"/>
            </a:endParaRPr>
          </a:p>
        </p:txBody>
      </p:sp>
      <p:sp>
        <p:nvSpPr>
          <p:cNvPr id="3" name="Oval 2">
            <a:extLst>
              <a:ext uri="{FF2B5EF4-FFF2-40B4-BE49-F238E27FC236}">
                <a16:creationId xmlns:a16="http://schemas.microsoft.com/office/drawing/2014/main" id="{5D87097D-1552-41D0-839F-01CB4F9A56AA}"/>
              </a:ext>
            </a:extLst>
          </p:cNvPr>
          <p:cNvSpPr/>
          <p:nvPr/>
        </p:nvSpPr>
        <p:spPr>
          <a:xfrm>
            <a:off x="378843" y="1345339"/>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1</a:t>
            </a:r>
          </a:p>
        </p:txBody>
      </p:sp>
      <p:sp>
        <p:nvSpPr>
          <p:cNvPr id="25" name="Oval 24">
            <a:extLst>
              <a:ext uri="{FF2B5EF4-FFF2-40B4-BE49-F238E27FC236}">
                <a16:creationId xmlns:a16="http://schemas.microsoft.com/office/drawing/2014/main" id="{E506EF20-B9CC-4615-B0D6-25D4AD1E741C}"/>
              </a:ext>
            </a:extLst>
          </p:cNvPr>
          <p:cNvSpPr/>
          <p:nvPr/>
        </p:nvSpPr>
        <p:spPr>
          <a:xfrm>
            <a:off x="2728119" y="1345339"/>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2</a:t>
            </a:r>
          </a:p>
        </p:txBody>
      </p:sp>
      <p:sp>
        <p:nvSpPr>
          <p:cNvPr id="26" name="Oval 25">
            <a:extLst>
              <a:ext uri="{FF2B5EF4-FFF2-40B4-BE49-F238E27FC236}">
                <a16:creationId xmlns:a16="http://schemas.microsoft.com/office/drawing/2014/main" id="{B1D67D69-8B02-460F-86DB-5B2E68C9A915}"/>
              </a:ext>
            </a:extLst>
          </p:cNvPr>
          <p:cNvSpPr/>
          <p:nvPr/>
        </p:nvSpPr>
        <p:spPr>
          <a:xfrm>
            <a:off x="5074503" y="1345339"/>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3</a:t>
            </a:r>
          </a:p>
        </p:txBody>
      </p:sp>
      <p:sp>
        <p:nvSpPr>
          <p:cNvPr id="27" name="Oval 26">
            <a:extLst>
              <a:ext uri="{FF2B5EF4-FFF2-40B4-BE49-F238E27FC236}">
                <a16:creationId xmlns:a16="http://schemas.microsoft.com/office/drawing/2014/main" id="{CB9110D7-A65E-4AE3-87B0-FE23FE899C4B}"/>
              </a:ext>
            </a:extLst>
          </p:cNvPr>
          <p:cNvSpPr/>
          <p:nvPr/>
        </p:nvSpPr>
        <p:spPr>
          <a:xfrm>
            <a:off x="7420645" y="1345339"/>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4</a:t>
            </a:r>
          </a:p>
        </p:txBody>
      </p:sp>
      <p:sp>
        <p:nvSpPr>
          <p:cNvPr id="47" name="Oval 46">
            <a:extLst>
              <a:ext uri="{FF2B5EF4-FFF2-40B4-BE49-F238E27FC236}">
                <a16:creationId xmlns:a16="http://schemas.microsoft.com/office/drawing/2014/main" id="{0D75684A-BEC4-4D3D-8991-7E8DE12AB397}"/>
              </a:ext>
            </a:extLst>
          </p:cNvPr>
          <p:cNvSpPr/>
          <p:nvPr/>
        </p:nvSpPr>
        <p:spPr>
          <a:xfrm>
            <a:off x="9762343" y="1345339"/>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5</a:t>
            </a:r>
          </a:p>
        </p:txBody>
      </p:sp>
      <p:sp>
        <p:nvSpPr>
          <p:cNvPr id="2" name="Arrow: Right 1">
            <a:extLst>
              <a:ext uri="{FF2B5EF4-FFF2-40B4-BE49-F238E27FC236}">
                <a16:creationId xmlns:a16="http://schemas.microsoft.com/office/drawing/2014/main" id="{49AB3C5C-CEBF-4635-9FA2-FC86BF19283C}"/>
              </a:ext>
            </a:extLst>
          </p:cNvPr>
          <p:cNvSpPr/>
          <p:nvPr/>
        </p:nvSpPr>
        <p:spPr>
          <a:xfrm>
            <a:off x="2552683" y="1896177"/>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Arrow: Right 34">
            <a:extLst>
              <a:ext uri="{FF2B5EF4-FFF2-40B4-BE49-F238E27FC236}">
                <a16:creationId xmlns:a16="http://schemas.microsoft.com/office/drawing/2014/main" id="{C5A2C255-47B4-492A-8A95-451B6751E147}"/>
              </a:ext>
            </a:extLst>
          </p:cNvPr>
          <p:cNvSpPr/>
          <p:nvPr/>
        </p:nvSpPr>
        <p:spPr>
          <a:xfrm>
            <a:off x="4897422" y="1865338"/>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Arrow: Right 35">
            <a:extLst>
              <a:ext uri="{FF2B5EF4-FFF2-40B4-BE49-F238E27FC236}">
                <a16:creationId xmlns:a16="http://schemas.microsoft.com/office/drawing/2014/main" id="{162B9310-1973-4FB2-ACEC-A9E23E5B2EBB}"/>
              </a:ext>
            </a:extLst>
          </p:cNvPr>
          <p:cNvSpPr/>
          <p:nvPr/>
        </p:nvSpPr>
        <p:spPr>
          <a:xfrm>
            <a:off x="7229134" y="1865338"/>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Arrow: Right 36">
            <a:extLst>
              <a:ext uri="{FF2B5EF4-FFF2-40B4-BE49-F238E27FC236}">
                <a16:creationId xmlns:a16="http://schemas.microsoft.com/office/drawing/2014/main" id="{2C50BC7D-C463-4178-A80C-973B70AD15C6}"/>
              </a:ext>
            </a:extLst>
          </p:cNvPr>
          <p:cNvSpPr/>
          <p:nvPr/>
        </p:nvSpPr>
        <p:spPr>
          <a:xfrm>
            <a:off x="9586907" y="1865338"/>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50302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BE5DC0A-E812-4427-8537-C85D4CCD592D}"/>
              </a:ext>
            </a:extLst>
          </p:cNvPr>
          <p:cNvSpPr/>
          <p:nvPr/>
        </p:nvSpPr>
        <p:spPr>
          <a:xfrm>
            <a:off x="0" y="1"/>
            <a:ext cx="12188825"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80646DB-92B3-45F7-8BB8-8FE4A055FD23}"/>
              </a:ext>
            </a:extLst>
          </p:cNvPr>
          <p:cNvGrpSpPr/>
          <p:nvPr/>
        </p:nvGrpSpPr>
        <p:grpSpPr>
          <a:xfrm>
            <a:off x="11267231" y="6148330"/>
            <a:ext cx="664418" cy="525190"/>
            <a:chOff x="10850888" y="5174158"/>
            <a:chExt cx="664418" cy="525190"/>
          </a:xfrm>
        </p:grpSpPr>
        <p:sp>
          <p:nvSpPr>
            <p:cNvPr id="10" name="Freeform: Shape 9">
              <a:extLst>
                <a:ext uri="{FF2B5EF4-FFF2-40B4-BE49-F238E27FC236}">
                  <a16:creationId xmlns:a16="http://schemas.microsoft.com/office/drawing/2014/main" id="{07E0A56D-A1E9-4B7B-9426-0DF88DE9D91B}"/>
                </a:ext>
              </a:extLst>
            </p:cNvPr>
            <p:cNvSpPr/>
            <p:nvPr/>
          </p:nvSpPr>
          <p:spPr>
            <a:xfrm>
              <a:off x="10850888" y="5174158"/>
              <a:ext cx="664418" cy="525190"/>
            </a:xfrm>
            <a:custGeom>
              <a:avLst/>
              <a:gdLst>
                <a:gd name="connsiteX0" fmla="*/ 538546 w 664418"/>
                <a:gd name="connsiteY0" fmla="*/ 525191 h 525190"/>
                <a:gd name="connsiteX1" fmla="*/ 125872 w 664418"/>
                <a:gd name="connsiteY1" fmla="*/ 525191 h 525190"/>
                <a:gd name="connsiteX2" fmla="*/ 0 w 664418"/>
                <a:gd name="connsiteY2" fmla="*/ 399319 h 525190"/>
                <a:gd name="connsiteX3" fmla="*/ 0 w 664418"/>
                <a:gd name="connsiteY3" fmla="*/ 125872 h 525190"/>
                <a:gd name="connsiteX4" fmla="*/ 125872 w 664418"/>
                <a:gd name="connsiteY4" fmla="*/ 0 h 525190"/>
                <a:gd name="connsiteX5" fmla="*/ 538546 w 664418"/>
                <a:gd name="connsiteY5" fmla="*/ 0 h 525190"/>
                <a:gd name="connsiteX6" fmla="*/ 664418 w 664418"/>
                <a:gd name="connsiteY6" fmla="*/ 125872 h 525190"/>
                <a:gd name="connsiteX7" fmla="*/ 664418 w 664418"/>
                <a:gd name="connsiteY7" fmla="*/ 399319 h 525190"/>
                <a:gd name="connsiteX8" fmla="*/ 538546 w 664418"/>
                <a:gd name="connsiteY8" fmla="*/ 525191 h 52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418" h="525190">
                  <a:moveTo>
                    <a:pt x="538546" y="525191"/>
                  </a:moveTo>
                  <a:lnTo>
                    <a:pt x="125872" y="525191"/>
                  </a:lnTo>
                  <a:cubicBezTo>
                    <a:pt x="56425" y="525191"/>
                    <a:pt x="0" y="468765"/>
                    <a:pt x="0" y="399319"/>
                  </a:cubicBezTo>
                  <a:lnTo>
                    <a:pt x="0" y="125872"/>
                  </a:lnTo>
                  <a:cubicBezTo>
                    <a:pt x="0" y="56425"/>
                    <a:pt x="56425" y="0"/>
                    <a:pt x="125872" y="0"/>
                  </a:cubicBezTo>
                  <a:lnTo>
                    <a:pt x="538546" y="0"/>
                  </a:lnTo>
                  <a:cubicBezTo>
                    <a:pt x="607993" y="0"/>
                    <a:pt x="664418" y="56425"/>
                    <a:pt x="664418" y="125872"/>
                  </a:cubicBezTo>
                  <a:lnTo>
                    <a:pt x="664418" y="399319"/>
                  </a:lnTo>
                  <a:cubicBezTo>
                    <a:pt x="664418" y="468765"/>
                    <a:pt x="607993" y="525191"/>
                    <a:pt x="538546" y="525191"/>
                  </a:cubicBezTo>
                  <a:close/>
                </a:path>
              </a:pathLst>
            </a:custGeom>
            <a:solidFill>
              <a:srgbClr val="FFFFFF"/>
            </a:solidFill>
            <a:ln w="3303"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3879BDEE-5A5E-41A5-926A-1B667690AC0B}"/>
                </a:ext>
              </a:extLst>
            </p:cNvPr>
            <p:cNvSpPr/>
            <p:nvPr/>
          </p:nvSpPr>
          <p:spPr>
            <a:xfrm>
              <a:off x="10873257" y="5196527"/>
              <a:ext cx="619680" cy="480450"/>
            </a:xfrm>
            <a:custGeom>
              <a:avLst/>
              <a:gdLst>
                <a:gd name="connsiteX0" fmla="*/ 516176 w 619680"/>
                <a:gd name="connsiteY0" fmla="*/ 480451 h 480450"/>
                <a:gd name="connsiteX1" fmla="*/ 103502 w 619680"/>
                <a:gd name="connsiteY1" fmla="*/ 480451 h 480450"/>
                <a:gd name="connsiteX2" fmla="*/ 0 w 619680"/>
                <a:gd name="connsiteY2" fmla="*/ 376949 h 480450"/>
                <a:gd name="connsiteX3" fmla="*/ 0 w 619680"/>
                <a:gd name="connsiteY3" fmla="*/ 103502 h 480450"/>
                <a:gd name="connsiteX4" fmla="*/ 103502 w 619680"/>
                <a:gd name="connsiteY4" fmla="*/ 0 h 480450"/>
                <a:gd name="connsiteX5" fmla="*/ 516176 w 619680"/>
                <a:gd name="connsiteY5" fmla="*/ 0 h 480450"/>
                <a:gd name="connsiteX6" fmla="*/ 619678 w 619680"/>
                <a:gd name="connsiteY6" fmla="*/ 103502 h 480450"/>
                <a:gd name="connsiteX7" fmla="*/ 619678 w 619680"/>
                <a:gd name="connsiteY7" fmla="*/ 376949 h 480450"/>
                <a:gd name="connsiteX8" fmla="*/ 516176 w 619680"/>
                <a:gd name="connsiteY8" fmla="*/ 480451 h 4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680" h="480450">
                  <a:moveTo>
                    <a:pt x="516176" y="480451"/>
                  </a:moveTo>
                  <a:lnTo>
                    <a:pt x="103502" y="480451"/>
                  </a:lnTo>
                  <a:cubicBezTo>
                    <a:pt x="46409" y="480451"/>
                    <a:pt x="0" y="433708"/>
                    <a:pt x="0" y="376949"/>
                  </a:cubicBezTo>
                  <a:lnTo>
                    <a:pt x="0" y="103502"/>
                  </a:lnTo>
                  <a:cubicBezTo>
                    <a:pt x="0" y="46409"/>
                    <a:pt x="46743" y="0"/>
                    <a:pt x="103502" y="0"/>
                  </a:cubicBezTo>
                  <a:lnTo>
                    <a:pt x="516176" y="0"/>
                  </a:lnTo>
                  <a:cubicBezTo>
                    <a:pt x="573269" y="0"/>
                    <a:pt x="619678" y="46743"/>
                    <a:pt x="619678" y="103502"/>
                  </a:cubicBezTo>
                  <a:lnTo>
                    <a:pt x="619678" y="376949"/>
                  </a:lnTo>
                  <a:cubicBezTo>
                    <a:pt x="620012" y="434042"/>
                    <a:pt x="573269" y="480451"/>
                    <a:pt x="516176" y="480451"/>
                  </a:cubicBezTo>
                  <a:close/>
                </a:path>
              </a:pathLst>
            </a:custGeom>
            <a:solidFill>
              <a:srgbClr val="0078A9"/>
            </a:solidFill>
            <a:ln w="3303"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B589D366-7552-460A-A10D-C6610E3330DE}"/>
                </a:ext>
              </a:extLst>
            </p:cNvPr>
            <p:cNvSpPr/>
            <p:nvPr/>
          </p:nvSpPr>
          <p:spPr>
            <a:xfrm>
              <a:off x="10902639" y="5239677"/>
              <a:ext cx="561249" cy="393229"/>
            </a:xfrm>
            <a:custGeom>
              <a:avLst/>
              <a:gdLst>
                <a:gd name="connsiteX0" fmla="*/ 491135 w 561249"/>
                <a:gd name="connsiteY0" fmla="*/ 113106 h 393229"/>
                <a:gd name="connsiteX1" fmla="*/ 561250 w 561249"/>
                <a:gd name="connsiteY1" fmla="*/ 129800 h 393229"/>
                <a:gd name="connsiteX2" fmla="*/ 561250 w 561249"/>
                <a:gd name="connsiteY2" fmla="*/ 76379 h 393229"/>
                <a:gd name="connsiteX3" fmla="*/ 437047 w 561249"/>
                <a:gd name="connsiteY3" fmla="*/ 89066 h 393229"/>
                <a:gd name="connsiteX4" fmla="*/ 407332 w 561249"/>
                <a:gd name="connsiteY4" fmla="*/ 120785 h 393229"/>
                <a:gd name="connsiteX5" fmla="*/ 405996 w 561249"/>
                <a:gd name="connsiteY5" fmla="*/ 123456 h 393229"/>
                <a:gd name="connsiteX6" fmla="*/ 221695 w 561249"/>
                <a:gd name="connsiteY6" fmla="*/ 255 h 393229"/>
                <a:gd name="connsiteX7" fmla="*/ 166271 w 561249"/>
                <a:gd name="connsiteY7" fmla="*/ 255 h 393229"/>
                <a:gd name="connsiteX8" fmla="*/ 166271 w 561249"/>
                <a:gd name="connsiteY8" fmla="*/ 116445 h 393229"/>
                <a:gd name="connsiteX9" fmla="*/ 45407 w 561249"/>
                <a:gd name="connsiteY9" fmla="*/ 73374 h 393229"/>
                <a:gd name="connsiteX10" fmla="*/ 0 w 561249"/>
                <a:gd name="connsiteY10" fmla="*/ 73374 h 393229"/>
                <a:gd name="connsiteX11" fmla="*/ 0 w 561249"/>
                <a:gd name="connsiteY11" fmla="*/ 319109 h 393229"/>
                <a:gd name="connsiteX12" fmla="*/ 74455 w 561249"/>
                <a:gd name="connsiteY12" fmla="*/ 319109 h 393229"/>
                <a:gd name="connsiteX13" fmla="*/ 55758 w 561249"/>
                <a:gd name="connsiteY13" fmla="*/ 288392 h 393229"/>
                <a:gd name="connsiteX14" fmla="*/ 55758 w 561249"/>
                <a:gd name="connsiteY14" fmla="*/ 221616 h 393229"/>
                <a:gd name="connsiteX15" fmla="*/ 77126 w 561249"/>
                <a:gd name="connsiteY15" fmla="*/ 242984 h 393229"/>
                <a:gd name="connsiteX16" fmla="*/ 94821 w 561249"/>
                <a:gd name="connsiteY16" fmla="*/ 244988 h 393229"/>
                <a:gd name="connsiteX17" fmla="*/ 166271 w 561249"/>
                <a:gd name="connsiteY17" fmla="*/ 194238 h 393229"/>
                <a:gd name="connsiteX18" fmla="*/ 166271 w 561249"/>
                <a:gd name="connsiteY18" fmla="*/ 393230 h 393229"/>
                <a:gd name="connsiteX19" fmla="*/ 254749 w 561249"/>
                <a:gd name="connsiteY19" fmla="*/ 393230 h 393229"/>
                <a:gd name="connsiteX20" fmla="*/ 236052 w 561249"/>
                <a:gd name="connsiteY20" fmla="*/ 362847 h 393229"/>
                <a:gd name="connsiteX21" fmla="*/ 236052 w 561249"/>
                <a:gd name="connsiteY21" fmla="*/ 229295 h 393229"/>
                <a:gd name="connsiteX22" fmla="*/ 269774 w 561249"/>
                <a:gd name="connsiteY22" fmla="*/ 262683 h 393229"/>
                <a:gd name="connsiteX23" fmla="*/ 297820 w 561249"/>
                <a:gd name="connsiteY23" fmla="*/ 266690 h 393229"/>
                <a:gd name="connsiteX24" fmla="*/ 390972 w 561249"/>
                <a:gd name="connsiteY24" fmla="*/ 207593 h 393229"/>
                <a:gd name="connsiteX25" fmla="*/ 451737 w 561249"/>
                <a:gd name="connsiteY25" fmla="*/ 312765 h 393229"/>
                <a:gd name="connsiteX26" fmla="*/ 516844 w 561249"/>
                <a:gd name="connsiteY26" fmla="*/ 321112 h 393229"/>
                <a:gd name="connsiteX27" fmla="*/ 561250 w 561249"/>
                <a:gd name="connsiteY27" fmla="*/ 316772 h 393229"/>
                <a:gd name="connsiteX28" fmla="*/ 561250 w 561249"/>
                <a:gd name="connsiteY28" fmla="*/ 196575 h 393229"/>
                <a:gd name="connsiteX29" fmla="*/ 493472 w 561249"/>
                <a:gd name="connsiteY29" fmla="*/ 196575 h 393229"/>
                <a:gd name="connsiteX30" fmla="*/ 512169 w 561249"/>
                <a:gd name="connsiteY30" fmla="*/ 226624 h 393229"/>
                <a:gd name="connsiteX31" fmla="*/ 512169 w 561249"/>
                <a:gd name="connsiteY31" fmla="*/ 281714 h 393229"/>
                <a:gd name="connsiteX32" fmla="*/ 464091 w 561249"/>
                <a:gd name="connsiteY32" fmla="*/ 266690 h 393229"/>
                <a:gd name="connsiteX33" fmla="*/ 453073 w 561249"/>
                <a:gd name="connsiteY33" fmla="*/ 157512 h 393229"/>
                <a:gd name="connsiteX34" fmla="*/ 491135 w 561249"/>
                <a:gd name="connsiteY34" fmla="*/ 113106 h 393229"/>
                <a:gd name="connsiteX35" fmla="*/ 80799 w 561249"/>
                <a:gd name="connsiteY35" fmla="*/ 212268 h 393229"/>
                <a:gd name="connsiteX36" fmla="*/ 55424 w 561249"/>
                <a:gd name="connsiteY36" fmla="*/ 204588 h 393229"/>
                <a:gd name="connsiteX37" fmla="*/ 55424 w 561249"/>
                <a:gd name="connsiteY37" fmla="*/ 116111 h 393229"/>
                <a:gd name="connsiteX38" fmla="*/ 69113 w 561249"/>
                <a:gd name="connsiteY38" fmla="*/ 102422 h 393229"/>
                <a:gd name="connsiteX39" fmla="*/ 117859 w 561249"/>
                <a:gd name="connsiteY39" fmla="*/ 154173 h 393229"/>
                <a:gd name="connsiteX40" fmla="*/ 80799 w 561249"/>
                <a:gd name="connsiteY40" fmla="*/ 212268 h 393229"/>
                <a:gd name="connsiteX41" fmla="*/ 280792 w 561249"/>
                <a:gd name="connsiteY41" fmla="*/ 221282 h 393229"/>
                <a:gd name="connsiteX42" fmla="*/ 236052 w 561249"/>
                <a:gd name="connsiteY42" fmla="*/ 208595 h 393229"/>
                <a:gd name="connsiteX43" fmla="*/ 236052 w 561249"/>
                <a:gd name="connsiteY43" fmla="*/ 62022 h 393229"/>
                <a:gd name="connsiteX44" fmla="*/ 262762 w 561249"/>
                <a:gd name="connsiteY44" fmla="*/ 39986 h 393229"/>
                <a:gd name="connsiteX45" fmla="*/ 337217 w 561249"/>
                <a:gd name="connsiteY45" fmla="*/ 125125 h 393229"/>
                <a:gd name="connsiteX46" fmla="*/ 280792 w 561249"/>
                <a:gd name="connsiteY46" fmla="*/ 221282 h 39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61249" h="393229">
                  <a:moveTo>
                    <a:pt x="491135" y="113106"/>
                  </a:moveTo>
                  <a:cubicBezTo>
                    <a:pt x="515842" y="105760"/>
                    <a:pt x="541217" y="113440"/>
                    <a:pt x="561250" y="129800"/>
                  </a:cubicBezTo>
                  <a:lnTo>
                    <a:pt x="561250" y="76379"/>
                  </a:lnTo>
                  <a:cubicBezTo>
                    <a:pt x="496477" y="66029"/>
                    <a:pt x="462755" y="73040"/>
                    <a:pt x="437047" y="89066"/>
                  </a:cubicBezTo>
                  <a:cubicBezTo>
                    <a:pt x="416013" y="102422"/>
                    <a:pt x="407332" y="120785"/>
                    <a:pt x="407332" y="120785"/>
                  </a:cubicBezTo>
                  <a:cubicBezTo>
                    <a:pt x="407332" y="120785"/>
                    <a:pt x="406998" y="121787"/>
                    <a:pt x="405996" y="123456"/>
                  </a:cubicBezTo>
                  <a:cubicBezTo>
                    <a:pt x="402657" y="-11431"/>
                    <a:pt x="320189" y="255"/>
                    <a:pt x="221695" y="255"/>
                  </a:cubicBezTo>
                  <a:cubicBezTo>
                    <a:pt x="193983" y="255"/>
                    <a:pt x="166271" y="255"/>
                    <a:pt x="166271" y="255"/>
                  </a:cubicBezTo>
                  <a:lnTo>
                    <a:pt x="166271" y="116445"/>
                  </a:lnTo>
                  <a:cubicBezTo>
                    <a:pt x="149911" y="68366"/>
                    <a:pt x="99496" y="73374"/>
                    <a:pt x="45407" y="73374"/>
                  </a:cubicBezTo>
                  <a:cubicBezTo>
                    <a:pt x="25709" y="73374"/>
                    <a:pt x="0" y="73374"/>
                    <a:pt x="0" y="73374"/>
                  </a:cubicBezTo>
                  <a:lnTo>
                    <a:pt x="0" y="319109"/>
                  </a:lnTo>
                  <a:lnTo>
                    <a:pt x="74455" y="319109"/>
                  </a:lnTo>
                  <a:cubicBezTo>
                    <a:pt x="62101" y="314768"/>
                    <a:pt x="55758" y="304084"/>
                    <a:pt x="55758" y="288392"/>
                  </a:cubicBezTo>
                  <a:lnTo>
                    <a:pt x="55758" y="221616"/>
                  </a:lnTo>
                  <a:lnTo>
                    <a:pt x="77126" y="242984"/>
                  </a:lnTo>
                  <a:cubicBezTo>
                    <a:pt x="86475" y="245322"/>
                    <a:pt x="94821" y="244988"/>
                    <a:pt x="94821" y="244988"/>
                  </a:cubicBezTo>
                  <a:cubicBezTo>
                    <a:pt x="115522" y="243986"/>
                    <a:pt x="152249" y="235973"/>
                    <a:pt x="166271" y="194238"/>
                  </a:cubicBezTo>
                  <a:lnTo>
                    <a:pt x="166271" y="393230"/>
                  </a:lnTo>
                  <a:lnTo>
                    <a:pt x="254749" y="393230"/>
                  </a:lnTo>
                  <a:cubicBezTo>
                    <a:pt x="242396" y="388889"/>
                    <a:pt x="236052" y="378205"/>
                    <a:pt x="236052" y="362847"/>
                  </a:cubicBezTo>
                  <a:lnTo>
                    <a:pt x="236052" y="229295"/>
                  </a:lnTo>
                  <a:lnTo>
                    <a:pt x="269774" y="262683"/>
                  </a:lnTo>
                  <a:cubicBezTo>
                    <a:pt x="280458" y="266690"/>
                    <a:pt x="288471" y="267358"/>
                    <a:pt x="297820" y="266690"/>
                  </a:cubicBezTo>
                  <a:cubicBezTo>
                    <a:pt x="323528" y="265020"/>
                    <a:pt x="367934" y="254002"/>
                    <a:pt x="390972" y="207593"/>
                  </a:cubicBezTo>
                  <a:cubicBezTo>
                    <a:pt x="392975" y="251665"/>
                    <a:pt x="407332" y="295737"/>
                    <a:pt x="451737" y="312765"/>
                  </a:cubicBezTo>
                  <a:cubicBezTo>
                    <a:pt x="471436" y="320778"/>
                    <a:pt x="493806" y="323115"/>
                    <a:pt x="516844" y="321112"/>
                  </a:cubicBezTo>
                  <a:cubicBezTo>
                    <a:pt x="531868" y="320778"/>
                    <a:pt x="546559" y="319443"/>
                    <a:pt x="561250" y="316772"/>
                  </a:cubicBezTo>
                  <a:lnTo>
                    <a:pt x="561250" y="196575"/>
                  </a:lnTo>
                  <a:lnTo>
                    <a:pt x="493472" y="196575"/>
                  </a:lnTo>
                  <a:cubicBezTo>
                    <a:pt x="505826" y="200916"/>
                    <a:pt x="512169" y="211266"/>
                    <a:pt x="512169" y="226624"/>
                  </a:cubicBezTo>
                  <a:lnTo>
                    <a:pt x="512169" y="281714"/>
                  </a:lnTo>
                  <a:cubicBezTo>
                    <a:pt x="496811" y="286722"/>
                    <a:pt x="475777" y="281714"/>
                    <a:pt x="464091" y="266690"/>
                  </a:cubicBezTo>
                  <a:cubicBezTo>
                    <a:pt x="449400" y="247659"/>
                    <a:pt x="446729" y="193904"/>
                    <a:pt x="453073" y="157512"/>
                  </a:cubicBezTo>
                  <a:cubicBezTo>
                    <a:pt x="456412" y="139148"/>
                    <a:pt x="472104" y="118782"/>
                    <a:pt x="491135" y="113106"/>
                  </a:cubicBezTo>
                  <a:close/>
                  <a:moveTo>
                    <a:pt x="80799" y="212268"/>
                  </a:moveTo>
                  <a:cubicBezTo>
                    <a:pt x="62769" y="212268"/>
                    <a:pt x="55424" y="204588"/>
                    <a:pt x="55424" y="204588"/>
                  </a:cubicBezTo>
                  <a:lnTo>
                    <a:pt x="55424" y="116111"/>
                  </a:lnTo>
                  <a:cubicBezTo>
                    <a:pt x="55424" y="108431"/>
                    <a:pt x="60766" y="103423"/>
                    <a:pt x="69113" y="102422"/>
                  </a:cubicBezTo>
                  <a:cubicBezTo>
                    <a:pt x="77794" y="101420"/>
                    <a:pt x="117859" y="95076"/>
                    <a:pt x="117859" y="154173"/>
                  </a:cubicBezTo>
                  <a:cubicBezTo>
                    <a:pt x="117525" y="209597"/>
                    <a:pt x="93152" y="212268"/>
                    <a:pt x="80799" y="212268"/>
                  </a:cubicBezTo>
                  <a:close/>
                  <a:moveTo>
                    <a:pt x="280792" y="221282"/>
                  </a:moveTo>
                  <a:cubicBezTo>
                    <a:pt x="253748" y="221282"/>
                    <a:pt x="236052" y="208595"/>
                    <a:pt x="236052" y="208595"/>
                  </a:cubicBezTo>
                  <a:lnTo>
                    <a:pt x="236052" y="62022"/>
                  </a:lnTo>
                  <a:cubicBezTo>
                    <a:pt x="236052" y="49669"/>
                    <a:pt x="250409" y="41322"/>
                    <a:pt x="262762" y="39986"/>
                  </a:cubicBezTo>
                  <a:cubicBezTo>
                    <a:pt x="276117" y="38317"/>
                    <a:pt x="337217" y="28968"/>
                    <a:pt x="337217" y="125125"/>
                  </a:cubicBezTo>
                  <a:cubicBezTo>
                    <a:pt x="337217" y="211600"/>
                    <a:pt x="295816" y="221282"/>
                    <a:pt x="280792" y="221282"/>
                  </a:cubicBezTo>
                  <a:close/>
                </a:path>
              </a:pathLst>
            </a:custGeom>
            <a:solidFill>
              <a:srgbClr val="FFFFFF"/>
            </a:solidFill>
            <a:ln w="3303" cap="flat">
              <a:noFill/>
              <a:prstDash val="solid"/>
              <a:miter/>
            </a:ln>
          </p:spPr>
          <p:txBody>
            <a:bodyPr rtlCol="0" anchor="ctr"/>
            <a:lstStyle/>
            <a:p>
              <a:endParaRPr lang="en-US"/>
            </a:p>
          </p:txBody>
        </p:sp>
      </p:grpSp>
      <p:pic>
        <p:nvPicPr>
          <p:cNvPr id="6" name="063BACC6">
            <a:hlinkClick r:id="" action="ppaction://media"/>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1087242" y="997687"/>
            <a:ext cx="9413507" cy="5177428"/>
          </a:xfrm>
          <a:prstGeom prst="rect">
            <a:avLst/>
          </a:prstGeom>
        </p:spPr>
      </p:pic>
      <p:sp>
        <p:nvSpPr>
          <p:cNvPr id="2" name="Rectangle 1">
            <a:extLst>
              <a:ext uri="{FF2B5EF4-FFF2-40B4-BE49-F238E27FC236}">
                <a16:creationId xmlns:a16="http://schemas.microsoft.com/office/drawing/2014/main" id="{92EEA343-3553-427C-AB15-17D6CCCA8D1F}"/>
              </a:ext>
            </a:extLst>
          </p:cNvPr>
          <p:cNvSpPr/>
          <p:nvPr/>
        </p:nvSpPr>
        <p:spPr>
          <a:xfrm>
            <a:off x="0" y="323848"/>
            <a:ext cx="3166281" cy="93174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936671A9-9E83-4AA6-8468-82A2C93DEF7E}"/>
              </a:ext>
            </a:extLst>
          </p:cNvPr>
          <p:cNvSpPr/>
          <p:nvPr/>
        </p:nvSpPr>
        <p:spPr>
          <a:xfrm>
            <a:off x="3166281" y="323848"/>
            <a:ext cx="931746" cy="931746"/>
          </a:xfrm>
          <a:custGeom>
            <a:avLst/>
            <a:gdLst>
              <a:gd name="connsiteX0" fmla="*/ 0 w 931746"/>
              <a:gd name="connsiteY0" fmla="*/ 0 h 931746"/>
              <a:gd name="connsiteX1" fmla="*/ 931746 w 931746"/>
              <a:gd name="connsiteY1" fmla="*/ 0 h 931746"/>
              <a:gd name="connsiteX2" fmla="*/ 931746 w 931746"/>
              <a:gd name="connsiteY2" fmla="*/ 931746 h 931746"/>
              <a:gd name="connsiteX3" fmla="*/ 0 w 931746"/>
              <a:gd name="connsiteY3" fmla="*/ 931746 h 931746"/>
              <a:gd name="connsiteX4" fmla="*/ 0 w 931746"/>
              <a:gd name="connsiteY4" fmla="*/ 0 h 931746"/>
              <a:gd name="connsiteX0" fmla="*/ 0 w 931746"/>
              <a:gd name="connsiteY0" fmla="*/ 0 h 931746"/>
              <a:gd name="connsiteX1" fmla="*/ 931746 w 931746"/>
              <a:gd name="connsiteY1" fmla="*/ 0 h 931746"/>
              <a:gd name="connsiteX2" fmla="*/ 0 w 931746"/>
              <a:gd name="connsiteY2" fmla="*/ 931746 h 931746"/>
              <a:gd name="connsiteX3" fmla="*/ 0 w 931746"/>
              <a:gd name="connsiteY3" fmla="*/ 0 h 931746"/>
            </a:gdLst>
            <a:ahLst/>
            <a:cxnLst>
              <a:cxn ang="0">
                <a:pos x="connsiteX0" y="connsiteY0"/>
              </a:cxn>
              <a:cxn ang="0">
                <a:pos x="connsiteX1" y="connsiteY1"/>
              </a:cxn>
              <a:cxn ang="0">
                <a:pos x="connsiteX2" y="connsiteY2"/>
              </a:cxn>
              <a:cxn ang="0">
                <a:pos x="connsiteX3" y="connsiteY3"/>
              </a:cxn>
            </a:cxnLst>
            <a:rect l="l" t="t" r="r" b="b"/>
            <a:pathLst>
              <a:path w="931746" h="931746">
                <a:moveTo>
                  <a:pt x="0" y="0"/>
                </a:moveTo>
                <a:lnTo>
                  <a:pt x="931746" y="0"/>
                </a:lnTo>
                <a:lnTo>
                  <a:pt x="0" y="931746"/>
                </a:lnTo>
                <a:lnTo>
                  <a:pt x="0" y="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4"/>
          <p:cNvSpPr>
            <a:spLocks noGrp="1"/>
          </p:cNvSpPr>
          <p:nvPr>
            <p:ph type="title"/>
          </p:nvPr>
        </p:nvSpPr>
        <p:spPr>
          <a:xfrm>
            <a:off x="535793" y="323848"/>
            <a:ext cx="3385742" cy="931746"/>
          </a:xfrm>
        </p:spPr>
        <p:txBody>
          <a:bodyPr anchor="ctr">
            <a:noAutofit/>
          </a:bodyPr>
          <a:lstStyle/>
          <a:p>
            <a:pPr>
              <a:lnSpc>
                <a:spcPct val="90000"/>
              </a:lnSpc>
            </a:pPr>
            <a:r>
              <a:rPr lang="en-US" sz="2600">
                <a:solidFill>
                  <a:schemeClr val="bg2"/>
                </a:solidFill>
              </a:rPr>
              <a:t>Typical spray </a:t>
            </a:r>
            <a:br>
              <a:rPr lang="en-US" sz="2600">
                <a:solidFill>
                  <a:schemeClr val="bg2"/>
                </a:solidFill>
              </a:rPr>
            </a:br>
            <a:r>
              <a:rPr lang="en-US" sz="2600">
                <a:solidFill>
                  <a:schemeClr val="bg2"/>
                </a:solidFill>
              </a:rPr>
              <a:t>application</a:t>
            </a:r>
          </a:p>
        </p:txBody>
      </p:sp>
      <p:sp>
        <p:nvSpPr>
          <p:cNvPr id="4" name="Slide Number Placeholder 3"/>
          <p:cNvSpPr>
            <a:spLocks noGrp="1"/>
          </p:cNvSpPr>
          <p:nvPr>
            <p:ph type="sldNum" sz="quarter" idx="11"/>
          </p:nvPr>
        </p:nvSpPr>
        <p:spPr/>
        <p:txBody>
          <a:bodyPr/>
          <a:lstStyle/>
          <a:p>
            <a:fld id="{FD9C4343-C115-504A-8D4F-0B17318D4A48}" type="slidenum">
              <a:rPr lang="en-US" smtClean="0">
                <a:solidFill>
                  <a:schemeClr val="bg1"/>
                </a:solidFill>
              </a:rPr>
              <a:pPr/>
              <a:t>12</a:t>
            </a:fld>
            <a:endParaRPr lang="en-US">
              <a:solidFill>
                <a:schemeClr val="bg1"/>
              </a:solidFill>
            </a:endParaRPr>
          </a:p>
        </p:txBody>
      </p:sp>
    </p:spTree>
    <p:extLst>
      <p:ext uri="{BB962C8B-B14F-4D97-AF65-F5344CB8AC3E}">
        <p14:creationId xmlns:p14="http://schemas.microsoft.com/office/powerpoint/2010/main" val="4019678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4137"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A2ED90F-74C3-4DE4-836C-08EB871B571B}"/>
              </a:ext>
            </a:extLst>
          </p:cNvPr>
          <p:cNvSpPr/>
          <p:nvPr/>
        </p:nvSpPr>
        <p:spPr>
          <a:xfrm>
            <a:off x="0" y="1"/>
            <a:ext cx="12188825"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BE264395">
            <a:hlinkClick r:id="" action="ppaction://media"/>
            <a:extLst>
              <a:ext uri="{FF2B5EF4-FFF2-40B4-BE49-F238E27FC236}">
                <a16:creationId xmlns:a16="http://schemas.microsoft.com/office/drawing/2014/main" id="{FFC767FD-014A-47FF-9FB4-DBC7E5CC46A4}"/>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387658" y="840285"/>
            <a:ext cx="9413507" cy="5177429"/>
          </a:xfrm>
          <a:prstGeom prst="rect">
            <a:avLst/>
          </a:prstGeom>
        </p:spPr>
      </p:pic>
      <p:sp>
        <p:nvSpPr>
          <p:cNvPr id="5" name="Rectangle 4">
            <a:extLst>
              <a:ext uri="{FF2B5EF4-FFF2-40B4-BE49-F238E27FC236}">
                <a16:creationId xmlns:a16="http://schemas.microsoft.com/office/drawing/2014/main" id="{ABF6EFE0-6E0A-4AA4-BE5E-457C029654F1}"/>
              </a:ext>
            </a:extLst>
          </p:cNvPr>
          <p:cNvSpPr/>
          <p:nvPr/>
        </p:nvSpPr>
        <p:spPr>
          <a:xfrm>
            <a:off x="0" y="323848"/>
            <a:ext cx="3991456" cy="93174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15F377DF-9319-4BD2-9418-6F2DDE827575}"/>
              </a:ext>
            </a:extLst>
          </p:cNvPr>
          <p:cNvSpPr/>
          <p:nvPr/>
        </p:nvSpPr>
        <p:spPr>
          <a:xfrm>
            <a:off x="3991456" y="323848"/>
            <a:ext cx="931746" cy="931746"/>
          </a:xfrm>
          <a:custGeom>
            <a:avLst/>
            <a:gdLst>
              <a:gd name="connsiteX0" fmla="*/ 0 w 931746"/>
              <a:gd name="connsiteY0" fmla="*/ 0 h 931746"/>
              <a:gd name="connsiteX1" fmla="*/ 931746 w 931746"/>
              <a:gd name="connsiteY1" fmla="*/ 0 h 931746"/>
              <a:gd name="connsiteX2" fmla="*/ 931746 w 931746"/>
              <a:gd name="connsiteY2" fmla="*/ 931746 h 931746"/>
              <a:gd name="connsiteX3" fmla="*/ 0 w 931746"/>
              <a:gd name="connsiteY3" fmla="*/ 931746 h 931746"/>
              <a:gd name="connsiteX4" fmla="*/ 0 w 931746"/>
              <a:gd name="connsiteY4" fmla="*/ 0 h 931746"/>
              <a:gd name="connsiteX0" fmla="*/ 0 w 931746"/>
              <a:gd name="connsiteY0" fmla="*/ 0 h 931746"/>
              <a:gd name="connsiteX1" fmla="*/ 931746 w 931746"/>
              <a:gd name="connsiteY1" fmla="*/ 0 h 931746"/>
              <a:gd name="connsiteX2" fmla="*/ 0 w 931746"/>
              <a:gd name="connsiteY2" fmla="*/ 931746 h 931746"/>
              <a:gd name="connsiteX3" fmla="*/ 0 w 931746"/>
              <a:gd name="connsiteY3" fmla="*/ 0 h 931746"/>
            </a:gdLst>
            <a:ahLst/>
            <a:cxnLst>
              <a:cxn ang="0">
                <a:pos x="connsiteX0" y="connsiteY0"/>
              </a:cxn>
              <a:cxn ang="0">
                <a:pos x="connsiteX1" y="connsiteY1"/>
              </a:cxn>
              <a:cxn ang="0">
                <a:pos x="connsiteX2" y="connsiteY2"/>
              </a:cxn>
              <a:cxn ang="0">
                <a:pos x="connsiteX3" y="connsiteY3"/>
              </a:cxn>
            </a:cxnLst>
            <a:rect l="l" t="t" r="r" b="b"/>
            <a:pathLst>
              <a:path w="931746" h="931746">
                <a:moveTo>
                  <a:pt x="0" y="0"/>
                </a:moveTo>
                <a:lnTo>
                  <a:pt x="931746" y="0"/>
                </a:lnTo>
                <a:lnTo>
                  <a:pt x="0" y="931746"/>
                </a:lnTo>
                <a:lnTo>
                  <a:pt x="0" y="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4"/>
          <p:cNvSpPr>
            <a:spLocks noGrp="1"/>
          </p:cNvSpPr>
          <p:nvPr>
            <p:ph type="title"/>
          </p:nvPr>
        </p:nvSpPr>
        <p:spPr>
          <a:xfrm>
            <a:off x="535793" y="323848"/>
            <a:ext cx="3385743" cy="931746"/>
          </a:xfrm>
        </p:spPr>
        <p:txBody>
          <a:bodyPr vert="horz" lIns="0" tIns="0" rIns="0" bIns="0" rtlCol="0" anchor="ctr" anchorCtr="0">
            <a:noAutofit/>
          </a:bodyPr>
          <a:lstStyle/>
          <a:p>
            <a:pPr>
              <a:lnSpc>
                <a:spcPct val="90000"/>
              </a:lnSpc>
            </a:pPr>
            <a:r>
              <a:rPr lang="en-US" sz="2600">
                <a:solidFill>
                  <a:schemeClr val="bg2"/>
                </a:solidFill>
              </a:rPr>
              <a:t>Spray application for interior and exterior</a:t>
            </a:r>
          </a:p>
        </p:txBody>
      </p:sp>
      <p:sp>
        <p:nvSpPr>
          <p:cNvPr id="4" name="Slide Number Placeholder 3"/>
          <p:cNvSpPr>
            <a:spLocks noGrp="1"/>
          </p:cNvSpPr>
          <p:nvPr>
            <p:ph type="sldNum" sz="quarter" idx="11"/>
          </p:nvPr>
        </p:nvSpPr>
        <p:spPr/>
        <p:txBody>
          <a:bodyPr/>
          <a:lstStyle/>
          <a:p>
            <a:fld id="{FD9C4343-C115-504A-8D4F-0B17318D4A48}" type="slidenum">
              <a:rPr lang="en-US" smtClean="0">
                <a:solidFill>
                  <a:schemeClr val="bg1"/>
                </a:solidFill>
              </a:rPr>
              <a:pPr/>
              <a:t>13</a:t>
            </a:fld>
            <a:endParaRPr lang="en-US">
              <a:solidFill>
                <a:schemeClr val="bg1"/>
              </a:solidFill>
            </a:endParaRPr>
          </a:p>
        </p:txBody>
      </p:sp>
      <p:grpSp>
        <p:nvGrpSpPr>
          <p:cNvPr id="9" name="Group 8">
            <a:extLst>
              <a:ext uri="{FF2B5EF4-FFF2-40B4-BE49-F238E27FC236}">
                <a16:creationId xmlns:a16="http://schemas.microsoft.com/office/drawing/2014/main" id="{7F795B76-7729-480B-A750-F48BD2F178EA}"/>
              </a:ext>
            </a:extLst>
          </p:cNvPr>
          <p:cNvGrpSpPr/>
          <p:nvPr/>
        </p:nvGrpSpPr>
        <p:grpSpPr>
          <a:xfrm>
            <a:off x="11267231" y="6148330"/>
            <a:ext cx="664418" cy="525190"/>
            <a:chOff x="10850888" y="5174158"/>
            <a:chExt cx="664418" cy="525190"/>
          </a:xfrm>
        </p:grpSpPr>
        <p:sp>
          <p:nvSpPr>
            <p:cNvPr id="11" name="Freeform: Shape 10">
              <a:extLst>
                <a:ext uri="{FF2B5EF4-FFF2-40B4-BE49-F238E27FC236}">
                  <a16:creationId xmlns:a16="http://schemas.microsoft.com/office/drawing/2014/main" id="{404ED339-A227-4D79-8905-8798E14FAA90}"/>
                </a:ext>
              </a:extLst>
            </p:cNvPr>
            <p:cNvSpPr/>
            <p:nvPr/>
          </p:nvSpPr>
          <p:spPr>
            <a:xfrm>
              <a:off x="10850888" y="5174158"/>
              <a:ext cx="664418" cy="525190"/>
            </a:xfrm>
            <a:custGeom>
              <a:avLst/>
              <a:gdLst>
                <a:gd name="connsiteX0" fmla="*/ 538546 w 664418"/>
                <a:gd name="connsiteY0" fmla="*/ 525191 h 525190"/>
                <a:gd name="connsiteX1" fmla="*/ 125872 w 664418"/>
                <a:gd name="connsiteY1" fmla="*/ 525191 h 525190"/>
                <a:gd name="connsiteX2" fmla="*/ 0 w 664418"/>
                <a:gd name="connsiteY2" fmla="*/ 399319 h 525190"/>
                <a:gd name="connsiteX3" fmla="*/ 0 w 664418"/>
                <a:gd name="connsiteY3" fmla="*/ 125872 h 525190"/>
                <a:gd name="connsiteX4" fmla="*/ 125872 w 664418"/>
                <a:gd name="connsiteY4" fmla="*/ 0 h 525190"/>
                <a:gd name="connsiteX5" fmla="*/ 538546 w 664418"/>
                <a:gd name="connsiteY5" fmla="*/ 0 h 525190"/>
                <a:gd name="connsiteX6" fmla="*/ 664418 w 664418"/>
                <a:gd name="connsiteY6" fmla="*/ 125872 h 525190"/>
                <a:gd name="connsiteX7" fmla="*/ 664418 w 664418"/>
                <a:gd name="connsiteY7" fmla="*/ 399319 h 525190"/>
                <a:gd name="connsiteX8" fmla="*/ 538546 w 664418"/>
                <a:gd name="connsiteY8" fmla="*/ 525191 h 52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418" h="525190">
                  <a:moveTo>
                    <a:pt x="538546" y="525191"/>
                  </a:moveTo>
                  <a:lnTo>
                    <a:pt x="125872" y="525191"/>
                  </a:lnTo>
                  <a:cubicBezTo>
                    <a:pt x="56425" y="525191"/>
                    <a:pt x="0" y="468765"/>
                    <a:pt x="0" y="399319"/>
                  </a:cubicBezTo>
                  <a:lnTo>
                    <a:pt x="0" y="125872"/>
                  </a:lnTo>
                  <a:cubicBezTo>
                    <a:pt x="0" y="56425"/>
                    <a:pt x="56425" y="0"/>
                    <a:pt x="125872" y="0"/>
                  </a:cubicBezTo>
                  <a:lnTo>
                    <a:pt x="538546" y="0"/>
                  </a:lnTo>
                  <a:cubicBezTo>
                    <a:pt x="607993" y="0"/>
                    <a:pt x="664418" y="56425"/>
                    <a:pt x="664418" y="125872"/>
                  </a:cubicBezTo>
                  <a:lnTo>
                    <a:pt x="664418" y="399319"/>
                  </a:lnTo>
                  <a:cubicBezTo>
                    <a:pt x="664418" y="468765"/>
                    <a:pt x="607993" y="525191"/>
                    <a:pt x="538546" y="525191"/>
                  </a:cubicBezTo>
                  <a:close/>
                </a:path>
              </a:pathLst>
            </a:custGeom>
            <a:solidFill>
              <a:srgbClr val="FFFFFF"/>
            </a:solidFill>
            <a:ln w="3303"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A49FC473-25FD-4CEC-A552-26DAA9BE7757}"/>
                </a:ext>
              </a:extLst>
            </p:cNvPr>
            <p:cNvSpPr/>
            <p:nvPr/>
          </p:nvSpPr>
          <p:spPr>
            <a:xfrm>
              <a:off x="10873257" y="5196527"/>
              <a:ext cx="619680" cy="480450"/>
            </a:xfrm>
            <a:custGeom>
              <a:avLst/>
              <a:gdLst>
                <a:gd name="connsiteX0" fmla="*/ 516176 w 619680"/>
                <a:gd name="connsiteY0" fmla="*/ 480451 h 480450"/>
                <a:gd name="connsiteX1" fmla="*/ 103502 w 619680"/>
                <a:gd name="connsiteY1" fmla="*/ 480451 h 480450"/>
                <a:gd name="connsiteX2" fmla="*/ 0 w 619680"/>
                <a:gd name="connsiteY2" fmla="*/ 376949 h 480450"/>
                <a:gd name="connsiteX3" fmla="*/ 0 w 619680"/>
                <a:gd name="connsiteY3" fmla="*/ 103502 h 480450"/>
                <a:gd name="connsiteX4" fmla="*/ 103502 w 619680"/>
                <a:gd name="connsiteY4" fmla="*/ 0 h 480450"/>
                <a:gd name="connsiteX5" fmla="*/ 516176 w 619680"/>
                <a:gd name="connsiteY5" fmla="*/ 0 h 480450"/>
                <a:gd name="connsiteX6" fmla="*/ 619678 w 619680"/>
                <a:gd name="connsiteY6" fmla="*/ 103502 h 480450"/>
                <a:gd name="connsiteX7" fmla="*/ 619678 w 619680"/>
                <a:gd name="connsiteY7" fmla="*/ 376949 h 480450"/>
                <a:gd name="connsiteX8" fmla="*/ 516176 w 619680"/>
                <a:gd name="connsiteY8" fmla="*/ 480451 h 4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680" h="480450">
                  <a:moveTo>
                    <a:pt x="516176" y="480451"/>
                  </a:moveTo>
                  <a:lnTo>
                    <a:pt x="103502" y="480451"/>
                  </a:lnTo>
                  <a:cubicBezTo>
                    <a:pt x="46409" y="480451"/>
                    <a:pt x="0" y="433708"/>
                    <a:pt x="0" y="376949"/>
                  </a:cubicBezTo>
                  <a:lnTo>
                    <a:pt x="0" y="103502"/>
                  </a:lnTo>
                  <a:cubicBezTo>
                    <a:pt x="0" y="46409"/>
                    <a:pt x="46743" y="0"/>
                    <a:pt x="103502" y="0"/>
                  </a:cubicBezTo>
                  <a:lnTo>
                    <a:pt x="516176" y="0"/>
                  </a:lnTo>
                  <a:cubicBezTo>
                    <a:pt x="573269" y="0"/>
                    <a:pt x="619678" y="46743"/>
                    <a:pt x="619678" y="103502"/>
                  </a:cubicBezTo>
                  <a:lnTo>
                    <a:pt x="619678" y="376949"/>
                  </a:lnTo>
                  <a:cubicBezTo>
                    <a:pt x="620012" y="434042"/>
                    <a:pt x="573269" y="480451"/>
                    <a:pt x="516176" y="480451"/>
                  </a:cubicBezTo>
                  <a:close/>
                </a:path>
              </a:pathLst>
            </a:custGeom>
            <a:solidFill>
              <a:srgbClr val="0078A9"/>
            </a:solidFill>
            <a:ln w="3303"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4BCAC2DD-C839-4BC5-9B8A-B2823F2A653F}"/>
                </a:ext>
              </a:extLst>
            </p:cNvPr>
            <p:cNvSpPr/>
            <p:nvPr/>
          </p:nvSpPr>
          <p:spPr>
            <a:xfrm>
              <a:off x="10902639" y="5239677"/>
              <a:ext cx="561249" cy="393229"/>
            </a:xfrm>
            <a:custGeom>
              <a:avLst/>
              <a:gdLst>
                <a:gd name="connsiteX0" fmla="*/ 491135 w 561249"/>
                <a:gd name="connsiteY0" fmla="*/ 113106 h 393229"/>
                <a:gd name="connsiteX1" fmla="*/ 561250 w 561249"/>
                <a:gd name="connsiteY1" fmla="*/ 129800 h 393229"/>
                <a:gd name="connsiteX2" fmla="*/ 561250 w 561249"/>
                <a:gd name="connsiteY2" fmla="*/ 76379 h 393229"/>
                <a:gd name="connsiteX3" fmla="*/ 437047 w 561249"/>
                <a:gd name="connsiteY3" fmla="*/ 89066 h 393229"/>
                <a:gd name="connsiteX4" fmla="*/ 407332 w 561249"/>
                <a:gd name="connsiteY4" fmla="*/ 120785 h 393229"/>
                <a:gd name="connsiteX5" fmla="*/ 405996 w 561249"/>
                <a:gd name="connsiteY5" fmla="*/ 123456 h 393229"/>
                <a:gd name="connsiteX6" fmla="*/ 221695 w 561249"/>
                <a:gd name="connsiteY6" fmla="*/ 255 h 393229"/>
                <a:gd name="connsiteX7" fmla="*/ 166271 w 561249"/>
                <a:gd name="connsiteY7" fmla="*/ 255 h 393229"/>
                <a:gd name="connsiteX8" fmla="*/ 166271 w 561249"/>
                <a:gd name="connsiteY8" fmla="*/ 116445 h 393229"/>
                <a:gd name="connsiteX9" fmla="*/ 45407 w 561249"/>
                <a:gd name="connsiteY9" fmla="*/ 73374 h 393229"/>
                <a:gd name="connsiteX10" fmla="*/ 0 w 561249"/>
                <a:gd name="connsiteY10" fmla="*/ 73374 h 393229"/>
                <a:gd name="connsiteX11" fmla="*/ 0 w 561249"/>
                <a:gd name="connsiteY11" fmla="*/ 319109 h 393229"/>
                <a:gd name="connsiteX12" fmla="*/ 74455 w 561249"/>
                <a:gd name="connsiteY12" fmla="*/ 319109 h 393229"/>
                <a:gd name="connsiteX13" fmla="*/ 55758 w 561249"/>
                <a:gd name="connsiteY13" fmla="*/ 288392 h 393229"/>
                <a:gd name="connsiteX14" fmla="*/ 55758 w 561249"/>
                <a:gd name="connsiteY14" fmla="*/ 221616 h 393229"/>
                <a:gd name="connsiteX15" fmla="*/ 77126 w 561249"/>
                <a:gd name="connsiteY15" fmla="*/ 242984 h 393229"/>
                <a:gd name="connsiteX16" fmla="*/ 94821 w 561249"/>
                <a:gd name="connsiteY16" fmla="*/ 244988 h 393229"/>
                <a:gd name="connsiteX17" fmla="*/ 166271 w 561249"/>
                <a:gd name="connsiteY17" fmla="*/ 194238 h 393229"/>
                <a:gd name="connsiteX18" fmla="*/ 166271 w 561249"/>
                <a:gd name="connsiteY18" fmla="*/ 393230 h 393229"/>
                <a:gd name="connsiteX19" fmla="*/ 254749 w 561249"/>
                <a:gd name="connsiteY19" fmla="*/ 393230 h 393229"/>
                <a:gd name="connsiteX20" fmla="*/ 236052 w 561249"/>
                <a:gd name="connsiteY20" fmla="*/ 362847 h 393229"/>
                <a:gd name="connsiteX21" fmla="*/ 236052 w 561249"/>
                <a:gd name="connsiteY21" fmla="*/ 229295 h 393229"/>
                <a:gd name="connsiteX22" fmla="*/ 269774 w 561249"/>
                <a:gd name="connsiteY22" fmla="*/ 262683 h 393229"/>
                <a:gd name="connsiteX23" fmla="*/ 297820 w 561249"/>
                <a:gd name="connsiteY23" fmla="*/ 266690 h 393229"/>
                <a:gd name="connsiteX24" fmla="*/ 390972 w 561249"/>
                <a:gd name="connsiteY24" fmla="*/ 207593 h 393229"/>
                <a:gd name="connsiteX25" fmla="*/ 451737 w 561249"/>
                <a:gd name="connsiteY25" fmla="*/ 312765 h 393229"/>
                <a:gd name="connsiteX26" fmla="*/ 516844 w 561249"/>
                <a:gd name="connsiteY26" fmla="*/ 321112 h 393229"/>
                <a:gd name="connsiteX27" fmla="*/ 561250 w 561249"/>
                <a:gd name="connsiteY27" fmla="*/ 316772 h 393229"/>
                <a:gd name="connsiteX28" fmla="*/ 561250 w 561249"/>
                <a:gd name="connsiteY28" fmla="*/ 196575 h 393229"/>
                <a:gd name="connsiteX29" fmla="*/ 493472 w 561249"/>
                <a:gd name="connsiteY29" fmla="*/ 196575 h 393229"/>
                <a:gd name="connsiteX30" fmla="*/ 512169 w 561249"/>
                <a:gd name="connsiteY30" fmla="*/ 226624 h 393229"/>
                <a:gd name="connsiteX31" fmla="*/ 512169 w 561249"/>
                <a:gd name="connsiteY31" fmla="*/ 281714 h 393229"/>
                <a:gd name="connsiteX32" fmla="*/ 464091 w 561249"/>
                <a:gd name="connsiteY32" fmla="*/ 266690 h 393229"/>
                <a:gd name="connsiteX33" fmla="*/ 453073 w 561249"/>
                <a:gd name="connsiteY33" fmla="*/ 157512 h 393229"/>
                <a:gd name="connsiteX34" fmla="*/ 491135 w 561249"/>
                <a:gd name="connsiteY34" fmla="*/ 113106 h 393229"/>
                <a:gd name="connsiteX35" fmla="*/ 80799 w 561249"/>
                <a:gd name="connsiteY35" fmla="*/ 212268 h 393229"/>
                <a:gd name="connsiteX36" fmla="*/ 55424 w 561249"/>
                <a:gd name="connsiteY36" fmla="*/ 204588 h 393229"/>
                <a:gd name="connsiteX37" fmla="*/ 55424 w 561249"/>
                <a:gd name="connsiteY37" fmla="*/ 116111 h 393229"/>
                <a:gd name="connsiteX38" fmla="*/ 69113 w 561249"/>
                <a:gd name="connsiteY38" fmla="*/ 102422 h 393229"/>
                <a:gd name="connsiteX39" fmla="*/ 117859 w 561249"/>
                <a:gd name="connsiteY39" fmla="*/ 154173 h 393229"/>
                <a:gd name="connsiteX40" fmla="*/ 80799 w 561249"/>
                <a:gd name="connsiteY40" fmla="*/ 212268 h 393229"/>
                <a:gd name="connsiteX41" fmla="*/ 280792 w 561249"/>
                <a:gd name="connsiteY41" fmla="*/ 221282 h 393229"/>
                <a:gd name="connsiteX42" fmla="*/ 236052 w 561249"/>
                <a:gd name="connsiteY42" fmla="*/ 208595 h 393229"/>
                <a:gd name="connsiteX43" fmla="*/ 236052 w 561249"/>
                <a:gd name="connsiteY43" fmla="*/ 62022 h 393229"/>
                <a:gd name="connsiteX44" fmla="*/ 262762 w 561249"/>
                <a:gd name="connsiteY44" fmla="*/ 39986 h 393229"/>
                <a:gd name="connsiteX45" fmla="*/ 337217 w 561249"/>
                <a:gd name="connsiteY45" fmla="*/ 125125 h 393229"/>
                <a:gd name="connsiteX46" fmla="*/ 280792 w 561249"/>
                <a:gd name="connsiteY46" fmla="*/ 221282 h 39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61249" h="393229">
                  <a:moveTo>
                    <a:pt x="491135" y="113106"/>
                  </a:moveTo>
                  <a:cubicBezTo>
                    <a:pt x="515842" y="105760"/>
                    <a:pt x="541217" y="113440"/>
                    <a:pt x="561250" y="129800"/>
                  </a:cubicBezTo>
                  <a:lnTo>
                    <a:pt x="561250" y="76379"/>
                  </a:lnTo>
                  <a:cubicBezTo>
                    <a:pt x="496477" y="66029"/>
                    <a:pt x="462755" y="73040"/>
                    <a:pt x="437047" y="89066"/>
                  </a:cubicBezTo>
                  <a:cubicBezTo>
                    <a:pt x="416013" y="102422"/>
                    <a:pt x="407332" y="120785"/>
                    <a:pt x="407332" y="120785"/>
                  </a:cubicBezTo>
                  <a:cubicBezTo>
                    <a:pt x="407332" y="120785"/>
                    <a:pt x="406998" y="121787"/>
                    <a:pt x="405996" y="123456"/>
                  </a:cubicBezTo>
                  <a:cubicBezTo>
                    <a:pt x="402657" y="-11431"/>
                    <a:pt x="320189" y="255"/>
                    <a:pt x="221695" y="255"/>
                  </a:cubicBezTo>
                  <a:cubicBezTo>
                    <a:pt x="193983" y="255"/>
                    <a:pt x="166271" y="255"/>
                    <a:pt x="166271" y="255"/>
                  </a:cubicBezTo>
                  <a:lnTo>
                    <a:pt x="166271" y="116445"/>
                  </a:lnTo>
                  <a:cubicBezTo>
                    <a:pt x="149911" y="68366"/>
                    <a:pt x="99496" y="73374"/>
                    <a:pt x="45407" y="73374"/>
                  </a:cubicBezTo>
                  <a:cubicBezTo>
                    <a:pt x="25709" y="73374"/>
                    <a:pt x="0" y="73374"/>
                    <a:pt x="0" y="73374"/>
                  </a:cubicBezTo>
                  <a:lnTo>
                    <a:pt x="0" y="319109"/>
                  </a:lnTo>
                  <a:lnTo>
                    <a:pt x="74455" y="319109"/>
                  </a:lnTo>
                  <a:cubicBezTo>
                    <a:pt x="62101" y="314768"/>
                    <a:pt x="55758" y="304084"/>
                    <a:pt x="55758" y="288392"/>
                  </a:cubicBezTo>
                  <a:lnTo>
                    <a:pt x="55758" y="221616"/>
                  </a:lnTo>
                  <a:lnTo>
                    <a:pt x="77126" y="242984"/>
                  </a:lnTo>
                  <a:cubicBezTo>
                    <a:pt x="86475" y="245322"/>
                    <a:pt x="94821" y="244988"/>
                    <a:pt x="94821" y="244988"/>
                  </a:cubicBezTo>
                  <a:cubicBezTo>
                    <a:pt x="115522" y="243986"/>
                    <a:pt x="152249" y="235973"/>
                    <a:pt x="166271" y="194238"/>
                  </a:cubicBezTo>
                  <a:lnTo>
                    <a:pt x="166271" y="393230"/>
                  </a:lnTo>
                  <a:lnTo>
                    <a:pt x="254749" y="393230"/>
                  </a:lnTo>
                  <a:cubicBezTo>
                    <a:pt x="242396" y="388889"/>
                    <a:pt x="236052" y="378205"/>
                    <a:pt x="236052" y="362847"/>
                  </a:cubicBezTo>
                  <a:lnTo>
                    <a:pt x="236052" y="229295"/>
                  </a:lnTo>
                  <a:lnTo>
                    <a:pt x="269774" y="262683"/>
                  </a:lnTo>
                  <a:cubicBezTo>
                    <a:pt x="280458" y="266690"/>
                    <a:pt x="288471" y="267358"/>
                    <a:pt x="297820" y="266690"/>
                  </a:cubicBezTo>
                  <a:cubicBezTo>
                    <a:pt x="323528" y="265020"/>
                    <a:pt x="367934" y="254002"/>
                    <a:pt x="390972" y="207593"/>
                  </a:cubicBezTo>
                  <a:cubicBezTo>
                    <a:pt x="392975" y="251665"/>
                    <a:pt x="407332" y="295737"/>
                    <a:pt x="451737" y="312765"/>
                  </a:cubicBezTo>
                  <a:cubicBezTo>
                    <a:pt x="471436" y="320778"/>
                    <a:pt x="493806" y="323115"/>
                    <a:pt x="516844" y="321112"/>
                  </a:cubicBezTo>
                  <a:cubicBezTo>
                    <a:pt x="531868" y="320778"/>
                    <a:pt x="546559" y="319443"/>
                    <a:pt x="561250" y="316772"/>
                  </a:cubicBezTo>
                  <a:lnTo>
                    <a:pt x="561250" y="196575"/>
                  </a:lnTo>
                  <a:lnTo>
                    <a:pt x="493472" y="196575"/>
                  </a:lnTo>
                  <a:cubicBezTo>
                    <a:pt x="505826" y="200916"/>
                    <a:pt x="512169" y="211266"/>
                    <a:pt x="512169" y="226624"/>
                  </a:cubicBezTo>
                  <a:lnTo>
                    <a:pt x="512169" y="281714"/>
                  </a:lnTo>
                  <a:cubicBezTo>
                    <a:pt x="496811" y="286722"/>
                    <a:pt x="475777" y="281714"/>
                    <a:pt x="464091" y="266690"/>
                  </a:cubicBezTo>
                  <a:cubicBezTo>
                    <a:pt x="449400" y="247659"/>
                    <a:pt x="446729" y="193904"/>
                    <a:pt x="453073" y="157512"/>
                  </a:cubicBezTo>
                  <a:cubicBezTo>
                    <a:pt x="456412" y="139148"/>
                    <a:pt x="472104" y="118782"/>
                    <a:pt x="491135" y="113106"/>
                  </a:cubicBezTo>
                  <a:close/>
                  <a:moveTo>
                    <a:pt x="80799" y="212268"/>
                  </a:moveTo>
                  <a:cubicBezTo>
                    <a:pt x="62769" y="212268"/>
                    <a:pt x="55424" y="204588"/>
                    <a:pt x="55424" y="204588"/>
                  </a:cubicBezTo>
                  <a:lnTo>
                    <a:pt x="55424" y="116111"/>
                  </a:lnTo>
                  <a:cubicBezTo>
                    <a:pt x="55424" y="108431"/>
                    <a:pt x="60766" y="103423"/>
                    <a:pt x="69113" y="102422"/>
                  </a:cubicBezTo>
                  <a:cubicBezTo>
                    <a:pt x="77794" y="101420"/>
                    <a:pt x="117859" y="95076"/>
                    <a:pt x="117859" y="154173"/>
                  </a:cubicBezTo>
                  <a:cubicBezTo>
                    <a:pt x="117525" y="209597"/>
                    <a:pt x="93152" y="212268"/>
                    <a:pt x="80799" y="212268"/>
                  </a:cubicBezTo>
                  <a:close/>
                  <a:moveTo>
                    <a:pt x="280792" y="221282"/>
                  </a:moveTo>
                  <a:cubicBezTo>
                    <a:pt x="253748" y="221282"/>
                    <a:pt x="236052" y="208595"/>
                    <a:pt x="236052" y="208595"/>
                  </a:cubicBezTo>
                  <a:lnTo>
                    <a:pt x="236052" y="62022"/>
                  </a:lnTo>
                  <a:cubicBezTo>
                    <a:pt x="236052" y="49669"/>
                    <a:pt x="250409" y="41322"/>
                    <a:pt x="262762" y="39986"/>
                  </a:cubicBezTo>
                  <a:cubicBezTo>
                    <a:pt x="276117" y="38317"/>
                    <a:pt x="337217" y="28968"/>
                    <a:pt x="337217" y="125125"/>
                  </a:cubicBezTo>
                  <a:cubicBezTo>
                    <a:pt x="337217" y="211600"/>
                    <a:pt x="295816" y="221282"/>
                    <a:pt x="280792" y="221282"/>
                  </a:cubicBezTo>
                  <a:close/>
                </a:path>
              </a:pathLst>
            </a:custGeom>
            <a:solidFill>
              <a:srgbClr val="FFFFFF"/>
            </a:solidFill>
            <a:ln w="3303" cap="flat">
              <a:noFill/>
              <a:prstDash val="solid"/>
              <a:miter/>
            </a:ln>
          </p:spPr>
          <p:txBody>
            <a:bodyPr rtlCol="0" anchor="ctr"/>
            <a:lstStyle/>
            <a:p>
              <a:endParaRPr lang="en-US"/>
            </a:p>
          </p:txBody>
        </p:sp>
      </p:grpSp>
    </p:spTree>
    <p:extLst>
      <p:ext uri="{BB962C8B-B14F-4D97-AF65-F5344CB8AC3E}">
        <p14:creationId xmlns:p14="http://schemas.microsoft.com/office/powerpoint/2010/main" val="2817376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8489"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FD9C4343-C115-504A-8D4F-0B17318D4A48}" type="slidenum">
              <a:rPr lang="en-US" smtClean="0"/>
              <a:pPr/>
              <a:t>14</a:t>
            </a:fld>
            <a:endParaRPr lang="en-US"/>
          </a:p>
        </p:txBody>
      </p:sp>
      <p:sp>
        <p:nvSpPr>
          <p:cNvPr id="5" name="Title 4"/>
          <p:cNvSpPr>
            <a:spLocks noGrp="1"/>
          </p:cNvSpPr>
          <p:nvPr>
            <p:ph type="title"/>
          </p:nvPr>
        </p:nvSpPr>
        <p:spPr>
          <a:xfrm>
            <a:off x="312801" y="323848"/>
            <a:ext cx="8544596" cy="859536"/>
          </a:xfrm>
        </p:spPr>
        <p:txBody>
          <a:bodyPr/>
          <a:lstStyle/>
          <a:p>
            <a:r>
              <a:rPr lang="en-US"/>
              <a:t>Roller coating application of a multi-coat system</a:t>
            </a:r>
          </a:p>
        </p:txBody>
      </p:sp>
      <p:sp>
        <p:nvSpPr>
          <p:cNvPr id="37" name="AutoShape 8">
            <a:extLst>
              <a:ext uri="{FF2B5EF4-FFF2-40B4-BE49-F238E27FC236}">
                <a16:creationId xmlns:a16="http://schemas.microsoft.com/office/drawing/2014/main" id="{5BA6992B-7A22-4207-8FCC-B4D45066E223}"/>
              </a:ext>
            </a:extLst>
          </p:cNvPr>
          <p:cNvSpPr>
            <a:spLocks noChangeArrowheads="1"/>
          </p:cNvSpPr>
          <p:nvPr/>
        </p:nvSpPr>
        <p:spPr bwMode="auto">
          <a:xfrm>
            <a:off x="281153" y="3316215"/>
            <a:ext cx="2793790" cy="1173549"/>
          </a:xfrm>
          <a:prstGeom prst="rect">
            <a:avLst/>
          </a:prstGeom>
          <a:solidFill>
            <a:schemeClr val="accent1"/>
          </a:solidFill>
          <a:ln w="12700">
            <a:solidFill>
              <a:schemeClr val="bg1"/>
            </a:solidFill>
            <a:round/>
            <a:headEnd/>
            <a:tailEnd/>
          </a:ln>
        </p:spPr>
        <p:txBody>
          <a:bodyPr wrap="square" lIns="365760" tIns="45720" rIns="0" bIns="4572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None/>
            </a:pPr>
            <a:r>
              <a:rPr lang="en-US" altLang="en-US" sz="1600" b="1">
                <a:solidFill>
                  <a:schemeClr val="bg1"/>
                </a:solidFill>
                <a:latin typeface="Arial"/>
                <a:ea typeface="MS PGothic"/>
                <a:cs typeface="Arial"/>
              </a:rPr>
              <a:t>Application of </a:t>
            </a:r>
          </a:p>
          <a:p>
            <a:pPr>
              <a:lnSpc>
                <a:spcPct val="90000"/>
              </a:lnSpc>
              <a:spcBef>
                <a:spcPct val="0"/>
              </a:spcBef>
              <a:buFontTx/>
              <a:buNone/>
            </a:pPr>
            <a:r>
              <a:rPr lang="en-US" altLang="en-US" sz="1600" b="1">
                <a:solidFill>
                  <a:schemeClr val="bg1"/>
                </a:solidFill>
                <a:latin typeface="Arial"/>
                <a:ea typeface="MS PGothic"/>
                <a:cs typeface="Arial"/>
              </a:rPr>
              <a:t>second Topcoat</a:t>
            </a:r>
            <a:endParaRPr lang="en-US" altLang="en-US" sz="1600" b="1">
              <a:solidFill>
                <a:schemeClr val="bg1"/>
              </a:solidFill>
              <a:latin typeface="Arial" panose="020B0604020202020204" pitchFamily="34" charset="0"/>
              <a:cs typeface="Arial"/>
            </a:endParaRPr>
          </a:p>
        </p:txBody>
      </p:sp>
      <p:sp>
        <p:nvSpPr>
          <p:cNvPr id="38" name="AutoShape 9">
            <a:extLst>
              <a:ext uri="{FF2B5EF4-FFF2-40B4-BE49-F238E27FC236}">
                <a16:creationId xmlns:a16="http://schemas.microsoft.com/office/drawing/2014/main" id="{88736499-3072-41EF-9DD3-68ACD9BB3866}"/>
              </a:ext>
            </a:extLst>
          </p:cNvPr>
          <p:cNvSpPr>
            <a:spLocks noChangeArrowheads="1"/>
          </p:cNvSpPr>
          <p:nvPr/>
        </p:nvSpPr>
        <p:spPr bwMode="auto">
          <a:xfrm>
            <a:off x="3166365" y="3316215"/>
            <a:ext cx="2994859" cy="1173549"/>
          </a:xfrm>
          <a:prstGeom prst="rect">
            <a:avLst/>
          </a:prstGeom>
          <a:solidFill>
            <a:schemeClr val="accent1"/>
          </a:solidFill>
          <a:ln w="12700">
            <a:solidFill>
              <a:schemeClr val="bg1"/>
            </a:solidFill>
            <a:round/>
            <a:headEnd/>
            <a:tailEnd/>
          </a:ln>
        </p:spPr>
        <p:txBody>
          <a:bodyPr wrap="square" lIns="365760" tIns="45720" rIns="0" bIns="4572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a:ea typeface="MS PGothic"/>
                <a:cs typeface="Arial"/>
              </a:rPr>
              <a:t>Application of </a:t>
            </a:r>
            <a:br>
              <a:rPr lang="en-US" altLang="en-US" sz="1600" b="1">
                <a:latin typeface="Arial" panose="020B0604020202020204" pitchFamily="34" charset="0"/>
              </a:rPr>
            </a:br>
            <a:r>
              <a:rPr lang="en-US" altLang="en-US" sz="1600" b="1">
                <a:solidFill>
                  <a:schemeClr val="bg1"/>
                </a:solidFill>
                <a:latin typeface="Arial"/>
                <a:ea typeface="MS PGothic"/>
                <a:cs typeface="Arial"/>
              </a:rPr>
              <a:t>third Topcoat</a:t>
            </a:r>
            <a:endParaRPr lang="en-US" altLang="en-US" sz="1600" b="1">
              <a:solidFill>
                <a:schemeClr val="bg1"/>
              </a:solidFill>
              <a:latin typeface="Arial" panose="020B0604020202020204" pitchFamily="34" charset="0"/>
            </a:endParaRPr>
          </a:p>
        </p:txBody>
      </p:sp>
      <p:sp>
        <p:nvSpPr>
          <p:cNvPr id="39" name="AutoShape 18">
            <a:extLst>
              <a:ext uri="{FF2B5EF4-FFF2-40B4-BE49-F238E27FC236}">
                <a16:creationId xmlns:a16="http://schemas.microsoft.com/office/drawing/2014/main" id="{5E4A75A4-E2C5-4347-B5FE-ED9CEA266568}"/>
              </a:ext>
            </a:extLst>
          </p:cNvPr>
          <p:cNvSpPr>
            <a:spLocks noChangeArrowheads="1"/>
          </p:cNvSpPr>
          <p:nvPr/>
        </p:nvSpPr>
        <p:spPr bwMode="auto">
          <a:xfrm>
            <a:off x="6252645" y="3316215"/>
            <a:ext cx="2793790" cy="1173549"/>
          </a:xfrm>
          <a:prstGeom prst="rect">
            <a:avLst/>
          </a:prstGeom>
          <a:solidFill>
            <a:schemeClr val="accent1"/>
          </a:solidFill>
          <a:ln w="12700">
            <a:solidFill>
              <a:schemeClr val="bg1"/>
            </a:solidFill>
            <a:round/>
            <a:headEnd/>
            <a:tailEnd/>
          </a:ln>
        </p:spPr>
        <p:txBody>
          <a:bodyPr wrap="square" lIns="365760" r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panose="020B0604020202020204" pitchFamily="34" charset="0"/>
              </a:rPr>
              <a:t>Curing of coating </a:t>
            </a:r>
            <a:br>
              <a:rPr lang="en-US" altLang="en-US" sz="1600" b="1">
                <a:solidFill>
                  <a:schemeClr val="bg1"/>
                </a:solidFill>
                <a:latin typeface="Arial" panose="020B0604020202020204" pitchFamily="34" charset="0"/>
              </a:rPr>
            </a:br>
            <a:r>
              <a:rPr lang="en-US" altLang="en-US" sz="1600" b="1">
                <a:solidFill>
                  <a:schemeClr val="bg1"/>
                </a:solidFill>
                <a:latin typeface="Arial" panose="020B0604020202020204" pitchFamily="34" charset="0"/>
              </a:rPr>
              <a:t>at 400-430º C </a:t>
            </a:r>
            <a:br>
              <a:rPr lang="en-US" altLang="en-US" sz="1600" b="1">
                <a:solidFill>
                  <a:schemeClr val="bg1"/>
                </a:solidFill>
                <a:latin typeface="Arial" panose="020B0604020202020204" pitchFamily="34" charset="0"/>
              </a:rPr>
            </a:br>
            <a:r>
              <a:rPr lang="en-US" altLang="en-US" sz="1600" b="1">
                <a:solidFill>
                  <a:schemeClr val="bg1"/>
                </a:solidFill>
                <a:latin typeface="Arial" panose="020B0604020202020204" pitchFamily="34" charset="0"/>
              </a:rPr>
              <a:t>for 4-5 minutes</a:t>
            </a:r>
          </a:p>
        </p:txBody>
      </p:sp>
      <p:sp>
        <p:nvSpPr>
          <p:cNvPr id="40" name="AutoShape 19">
            <a:extLst>
              <a:ext uri="{FF2B5EF4-FFF2-40B4-BE49-F238E27FC236}">
                <a16:creationId xmlns:a16="http://schemas.microsoft.com/office/drawing/2014/main" id="{FA85A19F-070E-4EA9-8C60-64AEF4DC20CF}"/>
              </a:ext>
            </a:extLst>
          </p:cNvPr>
          <p:cNvSpPr>
            <a:spLocks noChangeArrowheads="1"/>
          </p:cNvSpPr>
          <p:nvPr/>
        </p:nvSpPr>
        <p:spPr bwMode="auto">
          <a:xfrm>
            <a:off x="9137858" y="3316215"/>
            <a:ext cx="2793790" cy="1173549"/>
          </a:xfrm>
          <a:prstGeom prst="rect">
            <a:avLst/>
          </a:prstGeom>
          <a:solidFill>
            <a:schemeClr val="accent1"/>
          </a:solidFill>
          <a:ln w="12700">
            <a:solidFill>
              <a:schemeClr val="bg1"/>
            </a:solidFill>
            <a:round/>
            <a:headEnd/>
            <a:tailEnd/>
          </a:ln>
        </p:spPr>
        <p:txBody>
          <a:bodyPr wrap="square" lIns="365760" r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panose="020B0604020202020204" pitchFamily="34" charset="0"/>
              </a:rPr>
              <a:t>Exterior coating application, if required</a:t>
            </a:r>
          </a:p>
        </p:txBody>
      </p:sp>
      <p:sp>
        <p:nvSpPr>
          <p:cNvPr id="41" name="Oval 40">
            <a:extLst>
              <a:ext uri="{FF2B5EF4-FFF2-40B4-BE49-F238E27FC236}">
                <a16:creationId xmlns:a16="http://schemas.microsoft.com/office/drawing/2014/main" id="{613F6E41-B770-4A67-8E74-E4FADF179D54}"/>
              </a:ext>
            </a:extLst>
          </p:cNvPr>
          <p:cNvSpPr/>
          <p:nvPr/>
        </p:nvSpPr>
        <p:spPr>
          <a:xfrm>
            <a:off x="378843" y="3199664"/>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6</a:t>
            </a:r>
          </a:p>
        </p:txBody>
      </p:sp>
      <p:sp>
        <p:nvSpPr>
          <p:cNvPr id="45" name="Oval 44">
            <a:extLst>
              <a:ext uri="{FF2B5EF4-FFF2-40B4-BE49-F238E27FC236}">
                <a16:creationId xmlns:a16="http://schemas.microsoft.com/office/drawing/2014/main" id="{7CD95BD5-52DA-457F-8A5B-D41370D9C8DC}"/>
              </a:ext>
            </a:extLst>
          </p:cNvPr>
          <p:cNvSpPr/>
          <p:nvPr/>
        </p:nvSpPr>
        <p:spPr>
          <a:xfrm>
            <a:off x="3234015" y="3199664"/>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7</a:t>
            </a:r>
          </a:p>
        </p:txBody>
      </p:sp>
      <p:sp>
        <p:nvSpPr>
          <p:cNvPr id="46" name="Oval 45">
            <a:extLst>
              <a:ext uri="{FF2B5EF4-FFF2-40B4-BE49-F238E27FC236}">
                <a16:creationId xmlns:a16="http://schemas.microsoft.com/office/drawing/2014/main" id="{429A521D-04FF-48DD-A1F4-43F8A15B07C9}"/>
              </a:ext>
            </a:extLst>
          </p:cNvPr>
          <p:cNvSpPr/>
          <p:nvPr/>
        </p:nvSpPr>
        <p:spPr>
          <a:xfrm>
            <a:off x="6326862" y="3199664"/>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8</a:t>
            </a:r>
          </a:p>
        </p:txBody>
      </p:sp>
      <p:sp>
        <p:nvSpPr>
          <p:cNvPr id="52" name="Oval 51">
            <a:extLst>
              <a:ext uri="{FF2B5EF4-FFF2-40B4-BE49-F238E27FC236}">
                <a16:creationId xmlns:a16="http://schemas.microsoft.com/office/drawing/2014/main" id="{DF47D6F7-18DD-4AB5-833B-95F8EDC010A3}"/>
              </a:ext>
            </a:extLst>
          </p:cNvPr>
          <p:cNvSpPr/>
          <p:nvPr/>
        </p:nvSpPr>
        <p:spPr>
          <a:xfrm>
            <a:off x="9201597" y="3199664"/>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9</a:t>
            </a:r>
          </a:p>
        </p:txBody>
      </p:sp>
      <p:sp>
        <p:nvSpPr>
          <p:cNvPr id="53" name="Arrow: Right 52">
            <a:extLst>
              <a:ext uri="{FF2B5EF4-FFF2-40B4-BE49-F238E27FC236}">
                <a16:creationId xmlns:a16="http://schemas.microsoft.com/office/drawing/2014/main" id="{AC412899-3181-42DE-AE8D-E8BE6DD9B519}"/>
              </a:ext>
            </a:extLst>
          </p:cNvPr>
          <p:cNvSpPr/>
          <p:nvPr/>
        </p:nvSpPr>
        <p:spPr>
          <a:xfrm>
            <a:off x="3074943" y="3791247"/>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Arrow: Right 53">
            <a:extLst>
              <a:ext uri="{FF2B5EF4-FFF2-40B4-BE49-F238E27FC236}">
                <a16:creationId xmlns:a16="http://schemas.microsoft.com/office/drawing/2014/main" id="{28E6BB7C-BEB6-48CB-ADEB-C01A933E051D}"/>
              </a:ext>
            </a:extLst>
          </p:cNvPr>
          <p:cNvSpPr/>
          <p:nvPr/>
        </p:nvSpPr>
        <p:spPr>
          <a:xfrm>
            <a:off x="6161222" y="3773835"/>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Arrow: Right 54">
            <a:extLst>
              <a:ext uri="{FF2B5EF4-FFF2-40B4-BE49-F238E27FC236}">
                <a16:creationId xmlns:a16="http://schemas.microsoft.com/office/drawing/2014/main" id="{B45DD9EC-BFD0-47EA-87A6-E02FC8E229A5}"/>
              </a:ext>
            </a:extLst>
          </p:cNvPr>
          <p:cNvSpPr/>
          <p:nvPr/>
        </p:nvSpPr>
        <p:spPr>
          <a:xfrm>
            <a:off x="9046435" y="3765461"/>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Freeform: Shape 55">
            <a:extLst>
              <a:ext uri="{FF2B5EF4-FFF2-40B4-BE49-F238E27FC236}">
                <a16:creationId xmlns:a16="http://schemas.microsoft.com/office/drawing/2014/main" id="{296022A4-515D-465C-B6CC-0B43FEC74977}"/>
              </a:ext>
            </a:extLst>
          </p:cNvPr>
          <p:cNvSpPr/>
          <p:nvPr/>
        </p:nvSpPr>
        <p:spPr>
          <a:xfrm>
            <a:off x="144379" y="2598821"/>
            <a:ext cx="10385659" cy="1333781"/>
          </a:xfrm>
          <a:custGeom>
            <a:avLst/>
            <a:gdLst>
              <a:gd name="connsiteX0" fmla="*/ 10385659 w 10385659"/>
              <a:gd name="connsiteY0" fmla="*/ 0 h 1424539"/>
              <a:gd name="connsiteX1" fmla="*/ 10385659 w 10385659"/>
              <a:gd name="connsiteY1" fmla="*/ 346510 h 1424539"/>
              <a:gd name="connsiteX2" fmla="*/ 0 w 10385659"/>
              <a:gd name="connsiteY2" fmla="*/ 346510 h 1424539"/>
              <a:gd name="connsiteX3" fmla="*/ 0 w 10385659"/>
              <a:gd name="connsiteY3" fmla="*/ 1424539 h 1424539"/>
              <a:gd name="connsiteX4" fmla="*/ 269507 w 10385659"/>
              <a:gd name="connsiteY4" fmla="*/ 1424539 h 1424539"/>
              <a:gd name="connsiteX0" fmla="*/ 10385659 w 10385659"/>
              <a:gd name="connsiteY0" fmla="*/ 0 h 1424539"/>
              <a:gd name="connsiteX1" fmla="*/ 10385659 w 10385659"/>
              <a:gd name="connsiteY1" fmla="*/ 346510 h 1424539"/>
              <a:gd name="connsiteX2" fmla="*/ 0 w 10385659"/>
              <a:gd name="connsiteY2" fmla="*/ 346510 h 1424539"/>
              <a:gd name="connsiteX3" fmla="*/ 0 w 10385659"/>
              <a:gd name="connsiteY3" fmla="*/ 1424539 h 1424539"/>
              <a:gd name="connsiteX4" fmla="*/ 423511 w 10385659"/>
              <a:gd name="connsiteY4" fmla="*/ 1424539 h 1424539"/>
              <a:gd name="connsiteX0" fmla="*/ 10385659 w 10385659"/>
              <a:gd name="connsiteY0" fmla="*/ 0 h 1424539"/>
              <a:gd name="connsiteX1" fmla="*/ 10385659 w 10385659"/>
              <a:gd name="connsiteY1" fmla="*/ 346510 h 1424539"/>
              <a:gd name="connsiteX2" fmla="*/ 0 w 10385659"/>
              <a:gd name="connsiteY2" fmla="*/ 346510 h 1424539"/>
              <a:gd name="connsiteX3" fmla="*/ 0 w 10385659"/>
              <a:gd name="connsiteY3" fmla="*/ 1424539 h 1424539"/>
              <a:gd name="connsiteX4" fmla="*/ 462012 w 10385659"/>
              <a:gd name="connsiteY4" fmla="*/ 1424539 h 1424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5659" h="1424539">
                <a:moveTo>
                  <a:pt x="10385659" y="0"/>
                </a:moveTo>
                <a:lnTo>
                  <a:pt x="10385659" y="346510"/>
                </a:lnTo>
                <a:lnTo>
                  <a:pt x="0" y="346510"/>
                </a:lnTo>
                <a:lnTo>
                  <a:pt x="0" y="1424539"/>
                </a:lnTo>
                <a:lnTo>
                  <a:pt x="462012" y="1424539"/>
                </a:lnTo>
              </a:path>
            </a:pathLst>
          </a:custGeom>
          <a:noFill/>
          <a:ln w="117475">
            <a:solidFill>
              <a:schemeClr val="accent2"/>
            </a:solidFill>
            <a:miter lim="800000"/>
            <a:tailEnd type="triangle" w="med" len="sm"/>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7" name="AutoShape 3">
            <a:extLst>
              <a:ext uri="{FF2B5EF4-FFF2-40B4-BE49-F238E27FC236}">
                <a16:creationId xmlns:a16="http://schemas.microsoft.com/office/drawing/2014/main" id="{0F792838-FBAD-483B-AC97-430EB81C7D45}"/>
              </a:ext>
            </a:extLst>
          </p:cNvPr>
          <p:cNvSpPr>
            <a:spLocks noChangeArrowheads="1"/>
          </p:cNvSpPr>
          <p:nvPr/>
        </p:nvSpPr>
        <p:spPr bwMode="auto">
          <a:xfrm>
            <a:off x="307975" y="1435514"/>
            <a:ext cx="2244708" cy="1173549"/>
          </a:xfrm>
          <a:prstGeom prst="rect">
            <a:avLst/>
          </a:prstGeom>
          <a:solidFill>
            <a:schemeClr val="accent1"/>
          </a:solidFill>
          <a:ln w="12700">
            <a:solidFill>
              <a:schemeClr val="bg1"/>
            </a:solidFill>
            <a:round/>
            <a:headEnd/>
            <a:tailEnd/>
          </a:ln>
        </p:spPr>
        <p:txBody>
          <a:bodyPr wrap="square" lIns="365760" r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panose="020B0604020202020204" pitchFamily="34" charset="0"/>
              </a:rPr>
              <a:t>Cleaning/drying</a:t>
            </a:r>
          </a:p>
        </p:txBody>
      </p:sp>
      <p:sp>
        <p:nvSpPr>
          <p:cNvPr id="58" name="AutoShape 4">
            <a:extLst>
              <a:ext uri="{FF2B5EF4-FFF2-40B4-BE49-F238E27FC236}">
                <a16:creationId xmlns:a16="http://schemas.microsoft.com/office/drawing/2014/main" id="{CE5083B4-1FBF-4610-8F8D-7714F02472F7}"/>
              </a:ext>
            </a:extLst>
          </p:cNvPr>
          <p:cNvSpPr>
            <a:spLocks noChangeArrowheads="1"/>
          </p:cNvSpPr>
          <p:nvPr/>
        </p:nvSpPr>
        <p:spPr bwMode="auto">
          <a:xfrm>
            <a:off x="2652716" y="1435514"/>
            <a:ext cx="2244708" cy="1173549"/>
          </a:xfrm>
          <a:prstGeom prst="rect">
            <a:avLst/>
          </a:prstGeom>
          <a:solidFill>
            <a:schemeClr val="accent1"/>
          </a:solidFill>
          <a:ln w="12700">
            <a:solidFill>
              <a:schemeClr val="bg1"/>
            </a:solidFill>
            <a:round/>
            <a:headEnd/>
            <a:tailEnd/>
          </a:ln>
        </p:spPr>
        <p:txBody>
          <a:bodyPr wrap="square" lIns="365760" r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panose="020B0604020202020204" pitchFamily="34" charset="0"/>
              </a:rPr>
              <a:t>Roughening	</a:t>
            </a:r>
          </a:p>
        </p:txBody>
      </p:sp>
      <p:sp>
        <p:nvSpPr>
          <p:cNvPr id="59" name="AutoShape 5">
            <a:extLst>
              <a:ext uri="{FF2B5EF4-FFF2-40B4-BE49-F238E27FC236}">
                <a16:creationId xmlns:a16="http://schemas.microsoft.com/office/drawing/2014/main" id="{D6544BDC-C959-414B-9F8D-3C23EC973A74}"/>
              </a:ext>
            </a:extLst>
          </p:cNvPr>
          <p:cNvSpPr>
            <a:spLocks noChangeArrowheads="1"/>
          </p:cNvSpPr>
          <p:nvPr/>
        </p:nvSpPr>
        <p:spPr bwMode="auto">
          <a:xfrm>
            <a:off x="4997457" y="1435514"/>
            <a:ext cx="2244708" cy="1173549"/>
          </a:xfrm>
          <a:prstGeom prst="rect">
            <a:avLst/>
          </a:prstGeom>
          <a:solidFill>
            <a:schemeClr val="accent1"/>
          </a:solidFill>
          <a:ln w="12700">
            <a:solidFill>
              <a:schemeClr val="bg1"/>
            </a:solidFill>
            <a:round/>
            <a:headEnd/>
            <a:tailEnd/>
          </a:ln>
        </p:spPr>
        <p:txBody>
          <a:bodyPr wrap="square" lIns="365760" tIns="45720" rIns="0" bIns="4572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a:ea typeface="MS PGothic"/>
                <a:cs typeface="Arial"/>
              </a:rPr>
              <a:t>Application </a:t>
            </a:r>
            <a:br>
              <a:rPr lang="en-US" altLang="en-US" sz="1600" b="1">
                <a:latin typeface="Arial" panose="020B0604020202020204" pitchFamily="34" charset="0"/>
              </a:rPr>
            </a:br>
            <a:r>
              <a:rPr lang="en-US" altLang="en-US" sz="1600" b="1">
                <a:solidFill>
                  <a:schemeClr val="bg1"/>
                </a:solidFill>
                <a:latin typeface="Arial"/>
                <a:ea typeface="MS PGothic"/>
                <a:cs typeface="Arial"/>
              </a:rPr>
              <a:t>of Primer</a:t>
            </a:r>
            <a:endParaRPr lang="en-US" altLang="en-US" sz="1600" b="1">
              <a:solidFill>
                <a:schemeClr val="bg1"/>
              </a:solidFill>
              <a:latin typeface="Arial" panose="020B0604020202020204" pitchFamily="34" charset="0"/>
            </a:endParaRPr>
          </a:p>
        </p:txBody>
      </p:sp>
      <p:sp>
        <p:nvSpPr>
          <p:cNvPr id="60" name="AutoShape 6">
            <a:extLst>
              <a:ext uri="{FF2B5EF4-FFF2-40B4-BE49-F238E27FC236}">
                <a16:creationId xmlns:a16="http://schemas.microsoft.com/office/drawing/2014/main" id="{5479DA5B-325C-40C7-933E-D97AF61F77CA}"/>
              </a:ext>
            </a:extLst>
          </p:cNvPr>
          <p:cNvSpPr>
            <a:spLocks noChangeArrowheads="1"/>
          </p:cNvSpPr>
          <p:nvPr/>
        </p:nvSpPr>
        <p:spPr bwMode="auto">
          <a:xfrm>
            <a:off x="7342199" y="1435514"/>
            <a:ext cx="2244708" cy="1173549"/>
          </a:xfrm>
          <a:prstGeom prst="rect">
            <a:avLst/>
          </a:prstGeom>
          <a:solidFill>
            <a:schemeClr val="accent1"/>
          </a:solidFill>
          <a:ln w="12700">
            <a:solidFill>
              <a:schemeClr val="bg1"/>
            </a:solidFill>
            <a:round/>
            <a:headEnd/>
            <a:tailEnd/>
          </a:ln>
        </p:spPr>
        <p:txBody>
          <a:bodyPr wrap="square" lIns="365760" tIns="45720" rIns="0" bIns="4572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FontTx/>
              <a:buNone/>
            </a:pPr>
            <a:r>
              <a:rPr lang="en-US" altLang="en-US" sz="1600" b="1">
                <a:solidFill>
                  <a:schemeClr val="bg1"/>
                </a:solidFill>
                <a:latin typeface="Arial"/>
                <a:ea typeface="MS PGothic"/>
                <a:cs typeface="Arial"/>
              </a:rPr>
              <a:t>Application </a:t>
            </a:r>
            <a:br>
              <a:rPr lang="en-US" altLang="en-US" sz="1600" b="1">
                <a:latin typeface="Arial" panose="020B0604020202020204" pitchFamily="34" charset="0"/>
              </a:rPr>
            </a:br>
            <a:r>
              <a:rPr lang="en-US" altLang="en-US" sz="1600" b="1">
                <a:solidFill>
                  <a:schemeClr val="bg1"/>
                </a:solidFill>
                <a:latin typeface="Arial"/>
                <a:ea typeface="MS PGothic"/>
                <a:cs typeface="Arial"/>
              </a:rPr>
              <a:t>of </a:t>
            </a:r>
            <a:r>
              <a:rPr lang="en-US" altLang="en-US" sz="1600" b="1" err="1">
                <a:solidFill>
                  <a:schemeClr val="bg1"/>
                </a:solidFill>
                <a:latin typeface="Arial"/>
                <a:ea typeface="MS PGothic"/>
                <a:cs typeface="Arial"/>
              </a:rPr>
              <a:t>Midcoat</a:t>
            </a:r>
            <a:endParaRPr lang="en-US" altLang="en-US" sz="1600" b="1" err="1">
              <a:solidFill>
                <a:schemeClr val="bg1"/>
              </a:solidFill>
              <a:latin typeface="Arial" panose="020B0604020202020204" pitchFamily="34" charset="0"/>
            </a:endParaRPr>
          </a:p>
        </p:txBody>
      </p:sp>
      <p:sp>
        <p:nvSpPr>
          <p:cNvPr id="61" name="AutoShape 7">
            <a:extLst>
              <a:ext uri="{FF2B5EF4-FFF2-40B4-BE49-F238E27FC236}">
                <a16:creationId xmlns:a16="http://schemas.microsoft.com/office/drawing/2014/main" id="{AA30E16A-BB0B-4B48-86F9-D0BD1C2B4D7E}"/>
              </a:ext>
            </a:extLst>
          </p:cNvPr>
          <p:cNvSpPr>
            <a:spLocks noChangeArrowheads="1"/>
          </p:cNvSpPr>
          <p:nvPr/>
        </p:nvSpPr>
        <p:spPr bwMode="auto">
          <a:xfrm>
            <a:off x="9686942" y="1435514"/>
            <a:ext cx="2244708" cy="1173549"/>
          </a:xfrm>
          <a:prstGeom prst="rect">
            <a:avLst/>
          </a:prstGeom>
          <a:solidFill>
            <a:schemeClr val="accent1"/>
          </a:solidFill>
          <a:ln w="12700">
            <a:noFill/>
            <a:round/>
            <a:headEnd/>
            <a:tailEnd/>
          </a:ln>
        </p:spPr>
        <p:txBody>
          <a:bodyPr wrap="square" lIns="365760" tIns="45720" rIns="0" bIns="45720"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None/>
            </a:pPr>
            <a:r>
              <a:rPr lang="en-US" altLang="en-US" sz="1600" b="1">
                <a:solidFill>
                  <a:schemeClr val="bg1"/>
                </a:solidFill>
                <a:latin typeface="Arial"/>
                <a:ea typeface="MS PGothic"/>
                <a:cs typeface="Arial"/>
              </a:rPr>
              <a:t>Application </a:t>
            </a:r>
            <a:br>
              <a:rPr lang="en-US" altLang="en-US" sz="1600" b="1">
                <a:latin typeface="Arial" panose="020B0604020202020204" pitchFamily="34" charset="0"/>
              </a:rPr>
            </a:br>
            <a:r>
              <a:rPr lang="en-US" altLang="en-US" sz="1600" b="1">
                <a:solidFill>
                  <a:schemeClr val="bg1"/>
                </a:solidFill>
                <a:latin typeface="Arial"/>
                <a:ea typeface="MS PGothic"/>
                <a:cs typeface="Arial"/>
              </a:rPr>
              <a:t>of first Topcoat</a:t>
            </a:r>
          </a:p>
        </p:txBody>
      </p:sp>
      <p:sp>
        <p:nvSpPr>
          <p:cNvPr id="63" name="Text Box 17">
            <a:extLst>
              <a:ext uri="{FF2B5EF4-FFF2-40B4-BE49-F238E27FC236}">
                <a16:creationId xmlns:a16="http://schemas.microsoft.com/office/drawing/2014/main" id="{E72FE36D-3E2B-4FE0-8FB3-A6FF6F54E394}"/>
              </a:ext>
            </a:extLst>
          </p:cNvPr>
          <p:cNvSpPr txBox="1">
            <a:spLocks noChangeArrowheads="1"/>
          </p:cNvSpPr>
          <p:nvPr/>
        </p:nvSpPr>
        <p:spPr bwMode="auto">
          <a:xfrm>
            <a:off x="6785944" y="2442641"/>
            <a:ext cx="991078" cy="307777"/>
          </a:xfrm>
          <a:prstGeom prst="rect">
            <a:avLst/>
          </a:prstGeom>
          <a:solidFill>
            <a:schemeClr val="bg2"/>
          </a:solidFill>
          <a:ln>
            <a:solidFill>
              <a:schemeClr val="tx1"/>
            </a:solidFill>
          </a:ln>
        </p:spPr>
        <p:txBody>
          <a:bodyPr wrap="squar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50000"/>
              </a:spcBef>
              <a:buFontTx/>
              <a:buNone/>
            </a:pPr>
            <a:r>
              <a:rPr lang="en-US" altLang="en-US" sz="1400" b="1">
                <a:latin typeface="Arial" panose="020B0604020202020204" pitchFamily="34" charset="0"/>
              </a:rPr>
              <a:t>Flash Off</a:t>
            </a:r>
            <a:endParaRPr lang="en-US" altLang="en-US" sz="1400" b="1">
              <a:solidFill>
                <a:schemeClr val="bg1"/>
              </a:solidFill>
              <a:latin typeface="Arial" panose="020B0604020202020204" pitchFamily="34" charset="0"/>
            </a:endParaRPr>
          </a:p>
        </p:txBody>
      </p:sp>
      <p:sp>
        <p:nvSpPr>
          <p:cNvPr id="64" name="Oval 63">
            <a:extLst>
              <a:ext uri="{FF2B5EF4-FFF2-40B4-BE49-F238E27FC236}">
                <a16:creationId xmlns:a16="http://schemas.microsoft.com/office/drawing/2014/main" id="{08013A7C-1787-45A0-828D-7E7C804B456E}"/>
              </a:ext>
            </a:extLst>
          </p:cNvPr>
          <p:cNvSpPr/>
          <p:nvPr/>
        </p:nvSpPr>
        <p:spPr>
          <a:xfrm>
            <a:off x="378843" y="1345339"/>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1</a:t>
            </a:r>
          </a:p>
        </p:txBody>
      </p:sp>
      <p:sp>
        <p:nvSpPr>
          <p:cNvPr id="65" name="Oval 64">
            <a:extLst>
              <a:ext uri="{FF2B5EF4-FFF2-40B4-BE49-F238E27FC236}">
                <a16:creationId xmlns:a16="http://schemas.microsoft.com/office/drawing/2014/main" id="{AD021E4B-367B-40DF-B831-595BB82BE523}"/>
              </a:ext>
            </a:extLst>
          </p:cNvPr>
          <p:cNvSpPr/>
          <p:nvPr/>
        </p:nvSpPr>
        <p:spPr>
          <a:xfrm>
            <a:off x="2728119" y="1345339"/>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2</a:t>
            </a:r>
          </a:p>
        </p:txBody>
      </p:sp>
      <p:sp>
        <p:nvSpPr>
          <p:cNvPr id="66" name="Oval 65">
            <a:extLst>
              <a:ext uri="{FF2B5EF4-FFF2-40B4-BE49-F238E27FC236}">
                <a16:creationId xmlns:a16="http://schemas.microsoft.com/office/drawing/2014/main" id="{58538541-3D64-4DB1-B87C-06D01BC3B69B}"/>
              </a:ext>
            </a:extLst>
          </p:cNvPr>
          <p:cNvSpPr/>
          <p:nvPr/>
        </p:nvSpPr>
        <p:spPr>
          <a:xfrm>
            <a:off x="5074503" y="1345339"/>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3</a:t>
            </a:r>
          </a:p>
        </p:txBody>
      </p:sp>
      <p:sp>
        <p:nvSpPr>
          <p:cNvPr id="67" name="Oval 66">
            <a:extLst>
              <a:ext uri="{FF2B5EF4-FFF2-40B4-BE49-F238E27FC236}">
                <a16:creationId xmlns:a16="http://schemas.microsoft.com/office/drawing/2014/main" id="{A910FFDB-06A8-4FCA-B09F-6FA1468C98F9}"/>
              </a:ext>
            </a:extLst>
          </p:cNvPr>
          <p:cNvSpPr/>
          <p:nvPr/>
        </p:nvSpPr>
        <p:spPr>
          <a:xfrm>
            <a:off x="7420645" y="1345339"/>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4</a:t>
            </a:r>
          </a:p>
        </p:txBody>
      </p:sp>
      <p:sp>
        <p:nvSpPr>
          <p:cNvPr id="68" name="Oval 67">
            <a:extLst>
              <a:ext uri="{FF2B5EF4-FFF2-40B4-BE49-F238E27FC236}">
                <a16:creationId xmlns:a16="http://schemas.microsoft.com/office/drawing/2014/main" id="{ACEF046F-2FC9-4AAF-BA59-F606CACAC710}"/>
              </a:ext>
            </a:extLst>
          </p:cNvPr>
          <p:cNvSpPr/>
          <p:nvPr/>
        </p:nvSpPr>
        <p:spPr>
          <a:xfrm>
            <a:off x="9762343" y="1345339"/>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5</a:t>
            </a:r>
          </a:p>
        </p:txBody>
      </p:sp>
      <p:sp>
        <p:nvSpPr>
          <p:cNvPr id="69" name="Arrow: Right 68">
            <a:extLst>
              <a:ext uri="{FF2B5EF4-FFF2-40B4-BE49-F238E27FC236}">
                <a16:creationId xmlns:a16="http://schemas.microsoft.com/office/drawing/2014/main" id="{298307DB-8AE5-47E6-8856-058AE6BB4C6C}"/>
              </a:ext>
            </a:extLst>
          </p:cNvPr>
          <p:cNvSpPr/>
          <p:nvPr/>
        </p:nvSpPr>
        <p:spPr>
          <a:xfrm>
            <a:off x="2552683" y="1896177"/>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Arrow: Right 69">
            <a:extLst>
              <a:ext uri="{FF2B5EF4-FFF2-40B4-BE49-F238E27FC236}">
                <a16:creationId xmlns:a16="http://schemas.microsoft.com/office/drawing/2014/main" id="{3F85F4C5-F6CE-431A-A104-EDA7E3094BA4}"/>
              </a:ext>
            </a:extLst>
          </p:cNvPr>
          <p:cNvSpPr/>
          <p:nvPr/>
        </p:nvSpPr>
        <p:spPr>
          <a:xfrm>
            <a:off x="4897422" y="1865338"/>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1" name="Arrow: Right 70">
            <a:extLst>
              <a:ext uri="{FF2B5EF4-FFF2-40B4-BE49-F238E27FC236}">
                <a16:creationId xmlns:a16="http://schemas.microsoft.com/office/drawing/2014/main" id="{96AE88EA-631A-47B5-802C-1FF53A199B5C}"/>
              </a:ext>
            </a:extLst>
          </p:cNvPr>
          <p:cNvSpPr/>
          <p:nvPr/>
        </p:nvSpPr>
        <p:spPr>
          <a:xfrm>
            <a:off x="7229134" y="1865338"/>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Arrow: Right 71">
            <a:extLst>
              <a:ext uri="{FF2B5EF4-FFF2-40B4-BE49-F238E27FC236}">
                <a16:creationId xmlns:a16="http://schemas.microsoft.com/office/drawing/2014/main" id="{EE455D4D-949E-438B-AB37-FE730F20630D}"/>
              </a:ext>
            </a:extLst>
          </p:cNvPr>
          <p:cNvSpPr/>
          <p:nvPr/>
        </p:nvSpPr>
        <p:spPr>
          <a:xfrm>
            <a:off x="9586907" y="1865338"/>
            <a:ext cx="383022" cy="313899"/>
          </a:xfrm>
          <a:prstGeom prst="rightArrow">
            <a:avLst>
              <a:gd name="adj1" fmla="val 50000"/>
              <a:gd name="adj2" fmla="val 65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Text Box 17">
            <a:extLst>
              <a:ext uri="{FF2B5EF4-FFF2-40B4-BE49-F238E27FC236}">
                <a16:creationId xmlns:a16="http://schemas.microsoft.com/office/drawing/2014/main" id="{740A5D58-31B4-4FB0-BBC8-03151861AA9D}"/>
              </a:ext>
            </a:extLst>
          </p:cNvPr>
          <p:cNvSpPr txBox="1">
            <a:spLocks noChangeArrowheads="1"/>
          </p:cNvSpPr>
          <p:nvPr/>
        </p:nvSpPr>
        <p:spPr bwMode="auto">
          <a:xfrm>
            <a:off x="9126455" y="2442641"/>
            <a:ext cx="991078" cy="307777"/>
          </a:xfrm>
          <a:prstGeom prst="rect">
            <a:avLst/>
          </a:prstGeom>
          <a:solidFill>
            <a:schemeClr val="bg2"/>
          </a:solidFill>
          <a:ln>
            <a:solidFill>
              <a:schemeClr val="tx1"/>
            </a:solidFill>
          </a:ln>
        </p:spPr>
        <p:txBody>
          <a:bodyPr wrap="squar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50000"/>
              </a:spcBef>
              <a:buFontTx/>
              <a:buNone/>
            </a:pPr>
            <a:r>
              <a:rPr lang="en-US" altLang="en-US" sz="1400" b="1">
                <a:latin typeface="Arial" panose="020B0604020202020204" pitchFamily="34" charset="0"/>
              </a:rPr>
              <a:t>Flash Off</a:t>
            </a:r>
            <a:endParaRPr lang="en-US" altLang="en-US" sz="1400" b="1">
              <a:solidFill>
                <a:schemeClr val="bg1"/>
              </a:solidFill>
              <a:latin typeface="Arial" panose="020B0604020202020204" pitchFamily="34" charset="0"/>
            </a:endParaRPr>
          </a:p>
        </p:txBody>
      </p:sp>
      <p:sp>
        <p:nvSpPr>
          <p:cNvPr id="74" name="Text Box 17">
            <a:extLst>
              <a:ext uri="{FF2B5EF4-FFF2-40B4-BE49-F238E27FC236}">
                <a16:creationId xmlns:a16="http://schemas.microsoft.com/office/drawing/2014/main" id="{41F63487-5638-4FA1-9EA2-3C7550EFBF28}"/>
              </a:ext>
            </a:extLst>
          </p:cNvPr>
          <p:cNvSpPr txBox="1">
            <a:spLocks noChangeArrowheads="1"/>
          </p:cNvSpPr>
          <p:nvPr/>
        </p:nvSpPr>
        <p:spPr bwMode="auto">
          <a:xfrm>
            <a:off x="482906" y="2780625"/>
            <a:ext cx="991078" cy="307777"/>
          </a:xfrm>
          <a:prstGeom prst="rect">
            <a:avLst/>
          </a:prstGeom>
          <a:solidFill>
            <a:schemeClr val="bg2"/>
          </a:solidFill>
          <a:ln>
            <a:solidFill>
              <a:schemeClr val="tx1"/>
            </a:solidFill>
          </a:ln>
        </p:spPr>
        <p:txBody>
          <a:bodyPr wrap="squar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50000"/>
              </a:spcBef>
              <a:buFontTx/>
              <a:buNone/>
            </a:pPr>
            <a:r>
              <a:rPr lang="en-US" altLang="en-US" sz="1400" b="1">
                <a:latin typeface="Arial" panose="020B0604020202020204" pitchFamily="34" charset="0"/>
              </a:rPr>
              <a:t>Flash Off</a:t>
            </a:r>
            <a:endParaRPr lang="en-US" altLang="en-US" sz="1400" b="1">
              <a:solidFill>
                <a:schemeClr val="bg1"/>
              </a:solidFill>
              <a:latin typeface="Arial" panose="020B0604020202020204" pitchFamily="34" charset="0"/>
            </a:endParaRPr>
          </a:p>
        </p:txBody>
      </p:sp>
      <p:sp>
        <p:nvSpPr>
          <p:cNvPr id="75" name="Text Box 17">
            <a:extLst>
              <a:ext uri="{FF2B5EF4-FFF2-40B4-BE49-F238E27FC236}">
                <a16:creationId xmlns:a16="http://schemas.microsoft.com/office/drawing/2014/main" id="{BD20369A-BE5A-4B83-832E-658DD9690BDC}"/>
              </a:ext>
            </a:extLst>
          </p:cNvPr>
          <p:cNvSpPr txBox="1">
            <a:spLocks noChangeArrowheads="1"/>
          </p:cNvSpPr>
          <p:nvPr/>
        </p:nvSpPr>
        <p:spPr bwMode="auto">
          <a:xfrm>
            <a:off x="2625114" y="4331977"/>
            <a:ext cx="991078" cy="307777"/>
          </a:xfrm>
          <a:prstGeom prst="rect">
            <a:avLst/>
          </a:prstGeom>
          <a:solidFill>
            <a:schemeClr val="bg2"/>
          </a:solidFill>
          <a:ln>
            <a:solidFill>
              <a:schemeClr val="tx1"/>
            </a:solidFill>
          </a:ln>
        </p:spPr>
        <p:txBody>
          <a:bodyPr wrap="squar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50000"/>
              </a:spcBef>
              <a:buFontTx/>
              <a:buNone/>
            </a:pPr>
            <a:r>
              <a:rPr lang="en-US" altLang="en-US" sz="1400" b="1">
                <a:latin typeface="Arial" panose="020B0604020202020204" pitchFamily="34" charset="0"/>
              </a:rPr>
              <a:t>Flash Off</a:t>
            </a:r>
            <a:endParaRPr lang="en-US" altLang="en-US" sz="1400" b="1">
              <a:solidFill>
                <a:schemeClr val="bg1"/>
              </a:solidFill>
              <a:latin typeface="Arial" panose="020B0604020202020204" pitchFamily="34" charset="0"/>
            </a:endParaRPr>
          </a:p>
        </p:txBody>
      </p:sp>
    </p:spTree>
    <p:extLst>
      <p:ext uri="{BB962C8B-B14F-4D97-AF65-F5344CB8AC3E}">
        <p14:creationId xmlns:p14="http://schemas.microsoft.com/office/powerpoint/2010/main" val="17134869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srcRect t="5785" b="21119"/>
          <a:stretch/>
        </p:blipFill>
        <p:spPr>
          <a:xfrm>
            <a:off x="-1" y="168901"/>
            <a:ext cx="12188825" cy="6689099"/>
          </a:xfrm>
          <a:prstGeom prst="rect">
            <a:avLst/>
          </a:prstGeom>
        </p:spPr>
      </p:pic>
      <p:pic>
        <p:nvPicPr>
          <p:cNvPr id="4" name="Picture 3"/>
          <p:cNvPicPr>
            <a:picLocks noChangeAspect="1"/>
          </p:cNvPicPr>
          <p:nvPr/>
        </p:nvPicPr>
        <p:blipFill rotWithShape="1">
          <a:blip r:embed="rId4"/>
          <a:srcRect l="3868" t="19255" r="3868" b="4520"/>
          <a:stretch/>
        </p:blipFill>
        <p:spPr>
          <a:xfrm>
            <a:off x="6833112" y="3362325"/>
            <a:ext cx="4817145" cy="3048000"/>
          </a:xfrm>
          <a:prstGeom prst="rect">
            <a:avLst/>
          </a:prstGeom>
          <a:ln w="19050">
            <a:solidFill>
              <a:schemeClr val="bg1"/>
            </a:solidFill>
          </a:ln>
          <a:effectLst/>
        </p:spPr>
      </p:pic>
      <p:pic>
        <p:nvPicPr>
          <p:cNvPr id="9" name="Picture 8"/>
          <p:cNvPicPr>
            <a:picLocks noChangeAspect="1"/>
          </p:cNvPicPr>
          <p:nvPr/>
        </p:nvPicPr>
        <p:blipFill rotWithShape="1">
          <a:blip r:embed="rId5"/>
          <a:srcRect l="5518" t="6583" r="5518" b="6583"/>
          <a:stretch/>
        </p:blipFill>
        <p:spPr>
          <a:xfrm>
            <a:off x="8784483" y="538742"/>
            <a:ext cx="2865774" cy="2619874"/>
          </a:xfrm>
          <a:prstGeom prst="rect">
            <a:avLst/>
          </a:prstGeom>
          <a:ln w="19050">
            <a:solidFill>
              <a:schemeClr val="bg1"/>
            </a:solidFill>
          </a:ln>
        </p:spPr>
      </p:pic>
      <p:sp>
        <p:nvSpPr>
          <p:cNvPr id="6" name="Slide Number Placeholder 5"/>
          <p:cNvSpPr>
            <a:spLocks noGrp="1"/>
          </p:cNvSpPr>
          <p:nvPr>
            <p:ph type="sldNum" sz="quarter" idx="11"/>
          </p:nvPr>
        </p:nvSpPr>
        <p:spPr/>
        <p:txBody>
          <a:bodyPr/>
          <a:lstStyle/>
          <a:p>
            <a:fld id="{FD9C4343-C115-504A-8D4F-0B17318D4A48}" type="slidenum">
              <a:rPr lang="en-US" smtClean="0">
                <a:solidFill>
                  <a:schemeClr val="bg1"/>
                </a:solidFill>
              </a:rPr>
              <a:pPr/>
              <a:t>15</a:t>
            </a:fld>
            <a:endParaRPr lang="en-US">
              <a:solidFill>
                <a:schemeClr val="bg1"/>
              </a:solidFill>
            </a:endParaRPr>
          </a:p>
        </p:txBody>
      </p:sp>
      <p:sp>
        <p:nvSpPr>
          <p:cNvPr id="7" name="Rectangle 6">
            <a:extLst>
              <a:ext uri="{FF2B5EF4-FFF2-40B4-BE49-F238E27FC236}">
                <a16:creationId xmlns:a16="http://schemas.microsoft.com/office/drawing/2014/main" id="{D30716CC-FCA1-45B0-87C7-3D6FAA63BC8F}"/>
              </a:ext>
            </a:extLst>
          </p:cNvPr>
          <p:cNvSpPr/>
          <p:nvPr/>
        </p:nvSpPr>
        <p:spPr>
          <a:xfrm>
            <a:off x="0" y="323848"/>
            <a:ext cx="3991456" cy="93174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2">
            <a:extLst>
              <a:ext uri="{FF2B5EF4-FFF2-40B4-BE49-F238E27FC236}">
                <a16:creationId xmlns:a16="http://schemas.microsoft.com/office/drawing/2014/main" id="{7A718CC3-A821-4EBC-B094-2A2C60C05E11}"/>
              </a:ext>
            </a:extLst>
          </p:cNvPr>
          <p:cNvSpPr/>
          <p:nvPr/>
        </p:nvSpPr>
        <p:spPr>
          <a:xfrm>
            <a:off x="3991456" y="323848"/>
            <a:ext cx="931746" cy="931746"/>
          </a:xfrm>
          <a:custGeom>
            <a:avLst/>
            <a:gdLst>
              <a:gd name="connsiteX0" fmla="*/ 0 w 931746"/>
              <a:gd name="connsiteY0" fmla="*/ 0 h 931746"/>
              <a:gd name="connsiteX1" fmla="*/ 931746 w 931746"/>
              <a:gd name="connsiteY1" fmla="*/ 0 h 931746"/>
              <a:gd name="connsiteX2" fmla="*/ 931746 w 931746"/>
              <a:gd name="connsiteY2" fmla="*/ 931746 h 931746"/>
              <a:gd name="connsiteX3" fmla="*/ 0 w 931746"/>
              <a:gd name="connsiteY3" fmla="*/ 931746 h 931746"/>
              <a:gd name="connsiteX4" fmla="*/ 0 w 931746"/>
              <a:gd name="connsiteY4" fmla="*/ 0 h 931746"/>
              <a:gd name="connsiteX0" fmla="*/ 0 w 931746"/>
              <a:gd name="connsiteY0" fmla="*/ 0 h 931746"/>
              <a:gd name="connsiteX1" fmla="*/ 931746 w 931746"/>
              <a:gd name="connsiteY1" fmla="*/ 0 h 931746"/>
              <a:gd name="connsiteX2" fmla="*/ 0 w 931746"/>
              <a:gd name="connsiteY2" fmla="*/ 931746 h 931746"/>
              <a:gd name="connsiteX3" fmla="*/ 0 w 931746"/>
              <a:gd name="connsiteY3" fmla="*/ 0 h 931746"/>
            </a:gdLst>
            <a:ahLst/>
            <a:cxnLst>
              <a:cxn ang="0">
                <a:pos x="connsiteX0" y="connsiteY0"/>
              </a:cxn>
              <a:cxn ang="0">
                <a:pos x="connsiteX1" y="connsiteY1"/>
              </a:cxn>
              <a:cxn ang="0">
                <a:pos x="connsiteX2" y="connsiteY2"/>
              </a:cxn>
              <a:cxn ang="0">
                <a:pos x="connsiteX3" y="connsiteY3"/>
              </a:cxn>
            </a:cxnLst>
            <a:rect l="l" t="t" r="r" b="b"/>
            <a:pathLst>
              <a:path w="931746" h="931746">
                <a:moveTo>
                  <a:pt x="0" y="0"/>
                </a:moveTo>
                <a:lnTo>
                  <a:pt x="931746" y="0"/>
                </a:lnTo>
                <a:lnTo>
                  <a:pt x="0" y="931746"/>
                </a:lnTo>
                <a:lnTo>
                  <a:pt x="0" y="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itle 4"/>
          <p:cNvSpPr>
            <a:spLocks noGrp="1"/>
          </p:cNvSpPr>
          <p:nvPr>
            <p:ph type="title"/>
          </p:nvPr>
        </p:nvSpPr>
        <p:spPr>
          <a:xfrm>
            <a:off x="535793" y="323848"/>
            <a:ext cx="3385743" cy="931746"/>
          </a:xfrm>
        </p:spPr>
        <p:txBody>
          <a:bodyPr vert="horz" lIns="0" tIns="0" rIns="0" bIns="0" rtlCol="0" anchor="ctr" anchorCtr="0">
            <a:noAutofit/>
          </a:bodyPr>
          <a:lstStyle/>
          <a:p>
            <a:pPr>
              <a:lnSpc>
                <a:spcPct val="90000"/>
              </a:lnSpc>
            </a:pPr>
            <a:r>
              <a:rPr lang="en-US" sz="2600">
                <a:solidFill>
                  <a:schemeClr val="bg2"/>
                </a:solidFill>
              </a:rPr>
              <a:t>Roller coating production method</a:t>
            </a:r>
          </a:p>
        </p:txBody>
      </p:sp>
      <p:grpSp>
        <p:nvGrpSpPr>
          <p:cNvPr id="11" name="Group 10">
            <a:extLst>
              <a:ext uri="{FF2B5EF4-FFF2-40B4-BE49-F238E27FC236}">
                <a16:creationId xmlns:a16="http://schemas.microsoft.com/office/drawing/2014/main" id="{09480643-7DF2-485F-8007-8ACD94A92CCF}"/>
              </a:ext>
            </a:extLst>
          </p:cNvPr>
          <p:cNvGrpSpPr/>
          <p:nvPr/>
        </p:nvGrpSpPr>
        <p:grpSpPr>
          <a:xfrm>
            <a:off x="11267231" y="6148330"/>
            <a:ext cx="664418" cy="525190"/>
            <a:chOff x="10850888" y="5174158"/>
            <a:chExt cx="664418" cy="525190"/>
          </a:xfrm>
        </p:grpSpPr>
        <p:sp>
          <p:nvSpPr>
            <p:cNvPr id="12" name="Freeform: Shape 11">
              <a:extLst>
                <a:ext uri="{FF2B5EF4-FFF2-40B4-BE49-F238E27FC236}">
                  <a16:creationId xmlns:a16="http://schemas.microsoft.com/office/drawing/2014/main" id="{D2A08E57-80C5-4D58-AD86-F564EE58CB4A}"/>
                </a:ext>
              </a:extLst>
            </p:cNvPr>
            <p:cNvSpPr/>
            <p:nvPr/>
          </p:nvSpPr>
          <p:spPr>
            <a:xfrm>
              <a:off x="10850888" y="5174158"/>
              <a:ext cx="664418" cy="525190"/>
            </a:xfrm>
            <a:custGeom>
              <a:avLst/>
              <a:gdLst>
                <a:gd name="connsiteX0" fmla="*/ 538546 w 664418"/>
                <a:gd name="connsiteY0" fmla="*/ 525191 h 525190"/>
                <a:gd name="connsiteX1" fmla="*/ 125872 w 664418"/>
                <a:gd name="connsiteY1" fmla="*/ 525191 h 525190"/>
                <a:gd name="connsiteX2" fmla="*/ 0 w 664418"/>
                <a:gd name="connsiteY2" fmla="*/ 399319 h 525190"/>
                <a:gd name="connsiteX3" fmla="*/ 0 w 664418"/>
                <a:gd name="connsiteY3" fmla="*/ 125872 h 525190"/>
                <a:gd name="connsiteX4" fmla="*/ 125872 w 664418"/>
                <a:gd name="connsiteY4" fmla="*/ 0 h 525190"/>
                <a:gd name="connsiteX5" fmla="*/ 538546 w 664418"/>
                <a:gd name="connsiteY5" fmla="*/ 0 h 525190"/>
                <a:gd name="connsiteX6" fmla="*/ 664418 w 664418"/>
                <a:gd name="connsiteY6" fmla="*/ 125872 h 525190"/>
                <a:gd name="connsiteX7" fmla="*/ 664418 w 664418"/>
                <a:gd name="connsiteY7" fmla="*/ 399319 h 525190"/>
                <a:gd name="connsiteX8" fmla="*/ 538546 w 664418"/>
                <a:gd name="connsiteY8" fmla="*/ 525191 h 52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418" h="525190">
                  <a:moveTo>
                    <a:pt x="538546" y="525191"/>
                  </a:moveTo>
                  <a:lnTo>
                    <a:pt x="125872" y="525191"/>
                  </a:lnTo>
                  <a:cubicBezTo>
                    <a:pt x="56425" y="525191"/>
                    <a:pt x="0" y="468765"/>
                    <a:pt x="0" y="399319"/>
                  </a:cubicBezTo>
                  <a:lnTo>
                    <a:pt x="0" y="125872"/>
                  </a:lnTo>
                  <a:cubicBezTo>
                    <a:pt x="0" y="56425"/>
                    <a:pt x="56425" y="0"/>
                    <a:pt x="125872" y="0"/>
                  </a:cubicBezTo>
                  <a:lnTo>
                    <a:pt x="538546" y="0"/>
                  </a:lnTo>
                  <a:cubicBezTo>
                    <a:pt x="607993" y="0"/>
                    <a:pt x="664418" y="56425"/>
                    <a:pt x="664418" y="125872"/>
                  </a:cubicBezTo>
                  <a:lnTo>
                    <a:pt x="664418" y="399319"/>
                  </a:lnTo>
                  <a:cubicBezTo>
                    <a:pt x="664418" y="468765"/>
                    <a:pt x="607993" y="525191"/>
                    <a:pt x="538546" y="525191"/>
                  </a:cubicBezTo>
                  <a:close/>
                </a:path>
              </a:pathLst>
            </a:custGeom>
            <a:solidFill>
              <a:srgbClr val="FFFFFF"/>
            </a:solidFill>
            <a:ln w="3303"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23E013FC-19FD-4AFE-BF38-0308BBE6BF45}"/>
                </a:ext>
              </a:extLst>
            </p:cNvPr>
            <p:cNvSpPr/>
            <p:nvPr/>
          </p:nvSpPr>
          <p:spPr>
            <a:xfrm>
              <a:off x="10873257" y="5196527"/>
              <a:ext cx="619680" cy="480450"/>
            </a:xfrm>
            <a:custGeom>
              <a:avLst/>
              <a:gdLst>
                <a:gd name="connsiteX0" fmla="*/ 516176 w 619680"/>
                <a:gd name="connsiteY0" fmla="*/ 480451 h 480450"/>
                <a:gd name="connsiteX1" fmla="*/ 103502 w 619680"/>
                <a:gd name="connsiteY1" fmla="*/ 480451 h 480450"/>
                <a:gd name="connsiteX2" fmla="*/ 0 w 619680"/>
                <a:gd name="connsiteY2" fmla="*/ 376949 h 480450"/>
                <a:gd name="connsiteX3" fmla="*/ 0 w 619680"/>
                <a:gd name="connsiteY3" fmla="*/ 103502 h 480450"/>
                <a:gd name="connsiteX4" fmla="*/ 103502 w 619680"/>
                <a:gd name="connsiteY4" fmla="*/ 0 h 480450"/>
                <a:gd name="connsiteX5" fmla="*/ 516176 w 619680"/>
                <a:gd name="connsiteY5" fmla="*/ 0 h 480450"/>
                <a:gd name="connsiteX6" fmla="*/ 619678 w 619680"/>
                <a:gd name="connsiteY6" fmla="*/ 103502 h 480450"/>
                <a:gd name="connsiteX7" fmla="*/ 619678 w 619680"/>
                <a:gd name="connsiteY7" fmla="*/ 376949 h 480450"/>
                <a:gd name="connsiteX8" fmla="*/ 516176 w 619680"/>
                <a:gd name="connsiteY8" fmla="*/ 480451 h 4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680" h="480450">
                  <a:moveTo>
                    <a:pt x="516176" y="480451"/>
                  </a:moveTo>
                  <a:lnTo>
                    <a:pt x="103502" y="480451"/>
                  </a:lnTo>
                  <a:cubicBezTo>
                    <a:pt x="46409" y="480451"/>
                    <a:pt x="0" y="433708"/>
                    <a:pt x="0" y="376949"/>
                  </a:cubicBezTo>
                  <a:lnTo>
                    <a:pt x="0" y="103502"/>
                  </a:lnTo>
                  <a:cubicBezTo>
                    <a:pt x="0" y="46409"/>
                    <a:pt x="46743" y="0"/>
                    <a:pt x="103502" y="0"/>
                  </a:cubicBezTo>
                  <a:lnTo>
                    <a:pt x="516176" y="0"/>
                  </a:lnTo>
                  <a:cubicBezTo>
                    <a:pt x="573269" y="0"/>
                    <a:pt x="619678" y="46743"/>
                    <a:pt x="619678" y="103502"/>
                  </a:cubicBezTo>
                  <a:lnTo>
                    <a:pt x="619678" y="376949"/>
                  </a:lnTo>
                  <a:cubicBezTo>
                    <a:pt x="620012" y="434042"/>
                    <a:pt x="573269" y="480451"/>
                    <a:pt x="516176" y="480451"/>
                  </a:cubicBezTo>
                  <a:close/>
                </a:path>
              </a:pathLst>
            </a:custGeom>
            <a:solidFill>
              <a:srgbClr val="0078A9"/>
            </a:solidFill>
            <a:ln w="3303"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485EC54-6469-4FC9-85D6-55C5AB04BAE7}"/>
                </a:ext>
              </a:extLst>
            </p:cNvPr>
            <p:cNvSpPr/>
            <p:nvPr/>
          </p:nvSpPr>
          <p:spPr>
            <a:xfrm>
              <a:off x="10902639" y="5239677"/>
              <a:ext cx="561249" cy="393229"/>
            </a:xfrm>
            <a:custGeom>
              <a:avLst/>
              <a:gdLst>
                <a:gd name="connsiteX0" fmla="*/ 491135 w 561249"/>
                <a:gd name="connsiteY0" fmla="*/ 113106 h 393229"/>
                <a:gd name="connsiteX1" fmla="*/ 561250 w 561249"/>
                <a:gd name="connsiteY1" fmla="*/ 129800 h 393229"/>
                <a:gd name="connsiteX2" fmla="*/ 561250 w 561249"/>
                <a:gd name="connsiteY2" fmla="*/ 76379 h 393229"/>
                <a:gd name="connsiteX3" fmla="*/ 437047 w 561249"/>
                <a:gd name="connsiteY3" fmla="*/ 89066 h 393229"/>
                <a:gd name="connsiteX4" fmla="*/ 407332 w 561249"/>
                <a:gd name="connsiteY4" fmla="*/ 120785 h 393229"/>
                <a:gd name="connsiteX5" fmla="*/ 405996 w 561249"/>
                <a:gd name="connsiteY5" fmla="*/ 123456 h 393229"/>
                <a:gd name="connsiteX6" fmla="*/ 221695 w 561249"/>
                <a:gd name="connsiteY6" fmla="*/ 255 h 393229"/>
                <a:gd name="connsiteX7" fmla="*/ 166271 w 561249"/>
                <a:gd name="connsiteY7" fmla="*/ 255 h 393229"/>
                <a:gd name="connsiteX8" fmla="*/ 166271 w 561249"/>
                <a:gd name="connsiteY8" fmla="*/ 116445 h 393229"/>
                <a:gd name="connsiteX9" fmla="*/ 45407 w 561249"/>
                <a:gd name="connsiteY9" fmla="*/ 73374 h 393229"/>
                <a:gd name="connsiteX10" fmla="*/ 0 w 561249"/>
                <a:gd name="connsiteY10" fmla="*/ 73374 h 393229"/>
                <a:gd name="connsiteX11" fmla="*/ 0 w 561249"/>
                <a:gd name="connsiteY11" fmla="*/ 319109 h 393229"/>
                <a:gd name="connsiteX12" fmla="*/ 74455 w 561249"/>
                <a:gd name="connsiteY12" fmla="*/ 319109 h 393229"/>
                <a:gd name="connsiteX13" fmla="*/ 55758 w 561249"/>
                <a:gd name="connsiteY13" fmla="*/ 288392 h 393229"/>
                <a:gd name="connsiteX14" fmla="*/ 55758 w 561249"/>
                <a:gd name="connsiteY14" fmla="*/ 221616 h 393229"/>
                <a:gd name="connsiteX15" fmla="*/ 77126 w 561249"/>
                <a:gd name="connsiteY15" fmla="*/ 242984 h 393229"/>
                <a:gd name="connsiteX16" fmla="*/ 94821 w 561249"/>
                <a:gd name="connsiteY16" fmla="*/ 244988 h 393229"/>
                <a:gd name="connsiteX17" fmla="*/ 166271 w 561249"/>
                <a:gd name="connsiteY17" fmla="*/ 194238 h 393229"/>
                <a:gd name="connsiteX18" fmla="*/ 166271 w 561249"/>
                <a:gd name="connsiteY18" fmla="*/ 393230 h 393229"/>
                <a:gd name="connsiteX19" fmla="*/ 254749 w 561249"/>
                <a:gd name="connsiteY19" fmla="*/ 393230 h 393229"/>
                <a:gd name="connsiteX20" fmla="*/ 236052 w 561249"/>
                <a:gd name="connsiteY20" fmla="*/ 362847 h 393229"/>
                <a:gd name="connsiteX21" fmla="*/ 236052 w 561249"/>
                <a:gd name="connsiteY21" fmla="*/ 229295 h 393229"/>
                <a:gd name="connsiteX22" fmla="*/ 269774 w 561249"/>
                <a:gd name="connsiteY22" fmla="*/ 262683 h 393229"/>
                <a:gd name="connsiteX23" fmla="*/ 297820 w 561249"/>
                <a:gd name="connsiteY23" fmla="*/ 266690 h 393229"/>
                <a:gd name="connsiteX24" fmla="*/ 390972 w 561249"/>
                <a:gd name="connsiteY24" fmla="*/ 207593 h 393229"/>
                <a:gd name="connsiteX25" fmla="*/ 451737 w 561249"/>
                <a:gd name="connsiteY25" fmla="*/ 312765 h 393229"/>
                <a:gd name="connsiteX26" fmla="*/ 516844 w 561249"/>
                <a:gd name="connsiteY26" fmla="*/ 321112 h 393229"/>
                <a:gd name="connsiteX27" fmla="*/ 561250 w 561249"/>
                <a:gd name="connsiteY27" fmla="*/ 316772 h 393229"/>
                <a:gd name="connsiteX28" fmla="*/ 561250 w 561249"/>
                <a:gd name="connsiteY28" fmla="*/ 196575 h 393229"/>
                <a:gd name="connsiteX29" fmla="*/ 493472 w 561249"/>
                <a:gd name="connsiteY29" fmla="*/ 196575 h 393229"/>
                <a:gd name="connsiteX30" fmla="*/ 512169 w 561249"/>
                <a:gd name="connsiteY30" fmla="*/ 226624 h 393229"/>
                <a:gd name="connsiteX31" fmla="*/ 512169 w 561249"/>
                <a:gd name="connsiteY31" fmla="*/ 281714 h 393229"/>
                <a:gd name="connsiteX32" fmla="*/ 464091 w 561249"/>
                <a:gd name="connsiteY32" fmla="*/ 266690 h 393229"/>
                <a:gd name="connsiteX33" fmla="*/ 453073 w 561249"/>
                <a:gd name="connsiteY33" fmla="*/ 157512 h 393229"/>
                <a:gd name="connsiteX34" fmla="*/ 491135 w 561249"/>
                <a:gd name="connsiteY34" fmla="*/ 113106 h 393229"/>
                <a:gd name="connsiteX35" fmla="*/ 80799 w 561249"/>
                <a:gd name="connsiteY35" fmla="*/ 212268 h 393229"/>
                <a:gd name="connsiteX36" fmla="*/ 55424 w 561249"/>
                <a:gd name="connsiteY36" fmla="*/ 204588 h 393229"/>
                <a:gd name="connsiteX37" fmla="*/ 55424 w 561249"/>
                <a:gd name="connsiteY37" fmla="*/ 116111 h 393229"/>
                <a:gd name="connsiteX38" fmla="*/ 69113 w 561249"/>
                <a:gd name="connsiteY38" fmla="*/ 102422 h 393229"/>
                <a:gd name="connsiteX39" fmla="*/ 117859 w 561249"/>
                <a:gd name="connsiteY39" fmla="*/ 154173 h 393229"/>
                <a:gd name="connsiteX40" fmla="*/ 80799 w 561249"/>
                <a:gd name="connsiteY40" fmla="*/ 212268 h 393229"/>
                <a:gd name="connsiteX41" fmla="*/ 280792 w 561249"/>
                <a:gd name="connsiteY41" fmla="*/ 221282 h 393229"/>
                <a:gd name="connsiteX42" fmla="*/ 236052 w 561249"/>
                <a:gd name="connsiteY42" fmla="*/ 208595 h 393229"/>
                <a:gd name="connsiteX43" fmla="*/ 236052 w 561249"/>
                <a:gd name="connsiteY43" fmla="*/ 62022 h 393229"/>
                <a:gd name="connsiteX44" fmla="*/ 262762 w 561249"/>
                <a:gd name="connsiteY44" fmla="*/ 39986 h 393229"/>
                <a:gd name="connsiteX45" fmla="*/ 337217 w 561249"/>
                <a:gd name="connsiteY45" fmla="*/ 125125 h 393229"/>
                <a:gd name="connsiteX46" fmla="*/ 280792 w 561249"/>
                <a:gd name="connsiteY46" fmla="*/ 221282 h 39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61249" h="393229">
                  <a:moveTo>
                    <a:pt x="491135" y="113106"/>
                  </a:moveTo>
                  <a:cubicBezTo>
                    <a:pt x="515842" y="105760"/>
                    <a:pt x="541217" y="113440"/>
                    <a:pt x="561250" y="129800"/>
                  </a:cubicBezTo>
                  <a:lnTo>
                    <a:pt x="561250" y="76379"/>
                  </a:lnTo>
                  <a:cubicBezTo>
                    <a:pt x="496477" y="66029"/>
                    <a:pt x="462755" y="73040"/>
                    <a:pt x="437047" y="89066"/>
                  </a:cubicBezTo>
                  <a:cubicBezTo>
                    <a:pt x="416013" y="102422"/>
                    <a:pt x="407332" y="120785"/>
                    <a:pt x="407332" y="120785"/>
                  </a:cubicBezTo>
                  <a:cubicBezTo>
                    <a:pt x="407332" y="120785"/>
                    <a:pt x="406998" y="121787"/>
                    <a:pt x="405996" y="123456"/>
                  </a:cubicBezTo>
                  <a:cubicBezTo>
                    <a:pt x="402657" y="-11431"/>
                    <a:pt x="320189" y="255"/>
                    <a:pt x="221695" y="255"/>
                  </a:cubicBezTo>
                  <a:cubicBezTo>
                    <a:pt x="193983" y="255"/>
                    <a:pt x="166271" y="255"/>
                    <a:pt x="166271" y="255"/>
                  </a:cubicBezTo>
                  <a:lnTo>
                    <a:pt x="166271" y="116445"/>
                  </a:lnTo>
                  <a:cubicBezTo>
                    <a:pt x="149911" y="68366"/>
                    <a:pt x="99496" y="73374"/>
                    <a:pt x="45407" y="73374"/>
                  </a:cubicBezTo>
                  <a:cubicBezTo>
                    <a:pt x="25709" y="73374"/>
                    <a:pt x="0" y="73374"/>
                    <a:pt x="0" y="73374"/>
                  </a:cubicBezTo>
                  <a:lnTo>
                    <a:pt x="0" y="319109"/>
                  </a:lnTo>
                  <a:lnTo>
                    <a:pt x="74455" y="319109"/>
                  </a:lnTo>
                  <a:cubicBezTo>
                    <a:pt x="62101" y="314768"/>
                    <a:pt x="55758" y="304084"/>
                    <a:pt x="55758" y="288392"/>
                  </a:cubicBezTo>
                  <a:lnTo>
                    <a:pt x="55758" y="221616"/>
                  </a:lnTo>
                  <a:lnTo>
                    <a:pt x="77126" y="242984"/>
                  </a:lnTo>
                  <a:cubicBezTo>
                    <a:pt x="86475" y="245322"/>
                    <a:pt x="94821" y="244988"/>
                    <a:pt x="94821" y="244988"/>
                  </a:cubicBezTo>
                  <a:cubicBezTo>
                    <a:pt x="115522" y="243986"/>
                    <a:pt x="152249" y="235973"/>
                    <a:pt x="166271" y="194238"/>
                  </a:cubicBezTo>
                  <a:lnTo>
                    <a:pt x="166271" y="393230"/>
                  </a:lnTo>
                  <a:lnTo>
                    <a:pt x="254749" y="393230"/>
                  </a:lnTo>
                  <a:cubicBezTo>
                    <a:pt x="242396" y="388889"/>
                    <a:pt x="236052" y="378205"/>
                    <a:pt x="236052" y="362847"/>
                  </a:cubicBezTo>
                  <a:lnTo>
                    <a:pt x="236052" y="229295"/>
                  </a:lnTo>
                  <a:lnTo>
                    <a:pt x="269774" y="262683"/>
                  </a:lnTo>
                  <a:cubicBezTo>
                    <a:pt x="280458" y="266690"/>
                    <a:pt x="288471" y="267358"/>
                    <a:pt x="297820" y="266690"/>
                  </a:cubicBezTo>
                  <a:cubicBezTo>
                    <a:pt x="323528" y="265020"/>
                    <a:pt x="367934" y="254002"/>
                    <a:pt x="390972" y="207593"/>
                  </a:cubicBezTo>
                  <a:cubicBezTo>
                    <a:pt x="392975" y="251665"/>
                    <a:pt x="407332" y="295737"/>
                    <a:pt x="451737" y="312765"/>
                  </a:cubicBezTo>
                  <a:cubicBezTo>
                    <a:pt x="471436" y="320778"/>
                    <a:pt x="493806" y="323115"/>
                    <a:pt x="516844" y="321112"/>
                  </a:cubicBezTo>
                  <a:cubicBezTo>
                    <a:pt x="531868" y="320778"/>
                    <a:pt x="546559" y="319443"/>
                    <a:pt x="561250" y="316772"/>
                  </a:cubicBezTo>
                  <a:lnTo>
                    <a:pt x="561250" y="196575"/>
                  </a:lnTo>
                  <a:lnTo>
                    <a:pt x="493472" y="196575"/>
                  </a:lnTo>
                  <a:cubicBezTo>
                    <a:pt x="505826" y="200916"/>
                    <a:pt x="512169" y="211266"/>
                    <a:pt x="512169" y="226624"/>
                  </a:cubicBezTo>
                  <a:lnTo>
                    <a:pt x="512169" y="281714"/>
                  </a:lnTo>
                  <a:cubicBezTo>
                    <a:pt x="496811" y="286722"/>
                    <a:pt x="475777" y="281714"/>
                    <a:pt x="464091" y="266690"/>
                  </a:cubicBezTo>
                  <a:cubicBezTo>
                    <a:pt x="449400" y="247659"/>
                    <a:pt x="446729" y="193904"/>
                    <a:pt x="453073" y="157512"/>
                  </a:cubicBezTo>
                  <a:cubicBezTo>
                    <a:pt x="456412" y="139148"/>
                    <a:pt x="472104" y="118782"/>
                    <a:pt x="491135" y="113106"/>
                  </a:cubicBezTo>
                  <a:close/>
                  <a:moveTo>
                    <a:pt x="80799" y="212268"/>
                  </a:moveTo>
                  <a:cubicBezTo>
                    <a:pt x="62769" y="212268"/>
                    <a:pt x="55424" y="204588"/>
                    <a:pt x="55424" y="204588"/>
                  </a:cubicBezTo>
                  <a:lnTo>
                    <a:pt x="55424" y="116111"/>
                  </a:lnTo>
                  <a:cubicBezTo>
                    <a:pt x="55424" y="108431"/>
                    <a:pt x="60766" y="103423"/>
                    <a:pt x="69113" y="102422"/>
                  </a:cubicBezTo>
                  <a:cubicBezTo>
                    <a:pt x="77794" y="101420"/>
                    <a:pt x="117859" y="95076"/>
                    <a:pt x="117859" y="154173"/>
                  </a:cubicBezTo>
                  <a:cubicBezTo>
                    <a:pt x="117525" y="209597"/>
                    <a:pt x="93152" y="212268"/>
                    <a:pt x="80799" y="212268"/>
                  </a:cubicBezTo>
                  <a:close/>
                  <a:moveTo>
                    <a:pt x="280792" y="221282"/>
                  </a:moveTo>
                  <a:cubicBezTo>
                    <a:pt x="253748" y="221282"/>
                    <a:pt x="236052" y="208595"/>
                    <a:pt x="236052" y="208595"/>
                  </a:cubicBezTo>
                  <a:lnTo>
                    <a:pt x="236052" y="62022"/>
                  </a:lnTo>
                  <a:cubicBezTo>
                    <a:pt x="236052" y="49669"/>
                    <a:pt x="250409" y="41322"/>
                    <a:pt x="262762" y="39986"/>
                  </a:cubicBezTo>
                  <a:cubicBezTo>
                    <a:pt x="276117" y="38317"/>
                    <a:pt x="337217" y="28968"/>
                    <a:pt x="337217" y="125125"/>
                  </a:cubicBezTo>
                  <a:cubicBezTo>
                    <a:pt x="337217" y="211600"/>
                    <a:pt x="295816" y="221282"/>
                    <a:pt x="280792" y="221282"/>
                  </a:cubicBezTo>
                  <a:close/>
                </a:path>
              </a:pathLst>
            </a:custGeom>
            <a:solidFill>
              <a:srgbClr val="FFFFFF"/>
            </a:solidFill>
            <a:ln w="3303" cap="flat">
              <a:noFill/>
              <a:prstDash val="solid"/>
              <a:miter/>
            </a:ln>
          </p:spPr>
          <p:txBody>
            <a:bodyPr rtlCol="0" anchor="ctr"/>
            <a:lstStyle/>
            <a:p>
              <a:endParaRPr lang="en-US"/>
            </a:p>
          </p:txBody>
        </p:sp>
      </p:grpSp>
    </p:spTree>
    <p:extLst>
      <p:ext uri="{BB962C8B-B14F-4D97-AF65-F5344CB8AC3E}">
        <p14:creationId xmlns:p14="http://schemas.microsoft.com/office/powerpoint/2010/main" val="40824927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S:\PICTURES\results\cookware\Surface RollCtr.jpg"/>
          <p:cNvPicPr>
            <a:picLocks noChangeAspect="1" noChangeArrowheads="1"/>
          </p:cNvPicPr>
          <p:nvPr/>
        </p:nvPicPr>
        <p:blipFill rotWithShape="1">
          <a:blip r:embed="rId3" cstate="print">
            <a:lum bright="20000"/>
            <a:extLst>
              <a:ext uri="{28A0092B-C50C-407E-A947-70E740481C1C}">
                <a14:useLocalDpi xmlns:a14="http://schemas.microsoft.com/office/drawing/2010/main" val="0"/>
              </a:ext>
            </a:extLst>
          </a:blip>
          <a:srcRect r="11228" b="3891"/>
          <a:stretch/>
        </p:blipFill>
        <p:spPr bwMode="auto">
          <a:xfrm>
            <a:off x="6403279" y="429628"/>
            <a:ext cx="4008491" cy="5176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descr="S:\PICTURES\results\cookware\Surface CurtCtr.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183"/>
          <a:stretch/>
        </p:blipFill>
        <p:spPr bwMode="auto">
          <a:xfrm>
            <a:off x="1390067" y="429628"/>
            <a:ext cx="4008491" cy="5214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descr="S:\PICTURES\results\cookware\Profile CurtCtr.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7913" b="18744"/>
          <a:stretch/>
        </p:blipFill>
        <p:spPr bwMode="auto">
          <a:xfrm>
            <a:off x="1754781" y="5848067"/>
            <a:ext cx="3165743" cy="648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S:\PICTURES\results\cookware\Profile RollCtr.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3382" b="13974"/>
          <a:stretch/>
        </p:blipFill>
        <p:spPr bwMode="auto">
          <a:xfrm>
            <a:off x="6669774" y="5848066"/>
            <a:ext cx="3475500" cy="648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1"/>
          </p:nvPr>
        </p:nvSpPr>
        <p:spPr/>
        <p:txBody>
          <a:bodyPr/>
          <a:lstStyle/>
          <a:p>
            <a:fld id="{FD9C4343-C115-504A-8D4F-0B17318D4A48}" type="slidenum">
              <a:rPr lang="en-US" smtClean="0"/>
              <a:pPr/>
              <a:t>16</a:t>
            </a:fld>
            <a:endParaRPr lang="en-US"/>
          </a:p>
        </p:txBody>
      </p:sp>
      <p:sp>
        <p:nvSpPr>
          <p:cNvPr id="15" name="Rectangle 14">
            <a:extLst>
              <a:ext uri="{FF2B5EF4-FFF2-40B4-BE49-F238E27FC236}">
                <a16:creationId xmlns:a16="http://schemas.microsoft.com/office/drawing/2014/main" id="{BD132D1D-D537-4BFD-AA8F-571957584711}"/>
              </a:ext>
            </a:extLst>
          </p:cNvPr>
          <p:cNvSpPr/>
          <p:nvPr/>
        </p:nvSpPr>
        <p:spPr>
          <a:xfrm>
            <a:off x="1391445" y="4990345"/>
            <a:ext cx="4007113" cy="68451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tIns="0" rIns="91440" bIns="45720" rtlCol="0" anchor="ctr"/>
          <a:lstStyle/>
          <a:p>
            <a:pPr algn="ctr"/>
            <a:r>
              <a:rPr lang="en-US" sz="2000" b="1"/>
              <a:t>Spray Coating </a:t>
            </a:r>
            <a:endParaRPr lang="en-US"/>
          </a:p>
          <a:p>
            <a:pPr algn="ctr"/>
            <a:r>
              <a:rPr lang="en-US" sz="2000" b="1"/>
              <a:t>Surface Smoothness</a:t>
            </a:r>
            <a:endParaRPr lang="en-US"/>
          </a:p>
        </p:txBody>
      </p:sp>
      <p:sp>
        <p:nvSpPr>
          <p:cNvPr id="17" name="Rectangle 16">
            <a:extLst>
              <a:ext uri="{FF2B5EF4-FFF2-40B4-BE49-F238E27FC236}">
                <a16:creationId xmlns:a16="http://schemas.microsoft.com/office/drawing/2014/main" id="{05F42EEF-46E2-465D-A613-2C594B0D94D7}"/>
              </a:ext>
            </a:extLst>
          </p:cNvPr>
          <p:cNvSpPr/>
          <p:nvPr/>
        </p:nvSpPr>
        <p:spPr>
          <a:xfrm>
            <a:off x="6399558" y="4990345"/>
            <a:ext cx="4015932" cy="68451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40" tIns="0" rIns="91440" bIns="45720" rtlCol="0" anchor="ctr"/>
          <a:lstStyle/>
          <a:p>
            <a:pPr algn="ctr"/>
            <a:r>
              <a:rPr lang="en-US" sz="2000" b="1"/>
              <a:t>Roller Coating </a:t>
            </a:r>
            <a:endParaRPr lang="en-US"/>
          </a:p>
          <a:p>
            <a:pPr algn="ctr"/>
            <a:r>
              <a:rPr lang="en-US" sz="2000" b="1"/>
              <a:t>Surface Smoothness</a:t>
            </a:r>
            <a:endParaRPr lang="en-US"/>
          </a:p>
        </p:txBody>
      </p:sp>
      <p:sp>
        <p:nvSpPr>
          <p:cNvPr id="23" name="Oval 22">
            <a:extLst>
              <a:ext uri="{FF2B5EF4-FFF2-40B4-BE49-F238E27FC236}">
                <a16:creationId xmlns:a16="http://schemas.microsoft.com/office/drawing/2014/main" id="{E8965DA8-ACF2-4BAB-A6EC-77BE8D56F70E}"/>
              </a:ext>
            </a:extLst>
          </p:cNvPr>
          <p:cNvSpPr/>
          <p:nvPr/>
        </p:nvSpPr>
        <p:spPr>
          <a:xfrm>
            <a:off x="5278208" y="3810508"/>
            <a:ext cx="1245422" cy="1245422"/>
          </a:xfrm>
          <a:prstGeom prst="ellipse">
            <a:avLst/>
          </a:prstGeom>
          <a:solidFill>
            <a:schemeClr val="accent2"/>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 Box 11"/>
          <p:cNvSpPr txBox="1">
            <a:spLocks noChangeArrowheads="1"/>
          </p:cNvSpPr>
          <p:nvPr/>
        </p:nvSpPr>
        <p:spPr bwMode="auto">
          <a:xfrm>
            <a:off x="5393461" y="4502005"/>
            <a:ext cx="1014916" cy="4000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126">
              <a:spcBef>
                <a:spcPct val="50000"/>
              </a:spcBef>
              <a:buNone/>
            </a:pPr>
            <a:r>
              <a:rPr lang="en-US" altLang="en-US" sz="1999" b="1">
                <a:solidFill>
                  <a:schemeClr val="bg1"/>
                </a:solidFill>
                <a:latin typeface="Arial" panose="020B0604020202020204" pitchFamily="34" charset="0"/>
              </a:rPr>
              <a:t>10X</a:t>
            </a:r>
          </a:p>
        </p:txBody>
      </p:sp>
      <p:pic>
        <p:nvPicPr>
          <p:cNvPr id="22" name="Graphic 21">
            <a:extLst>
              <a:ext uri="{FF2B5EF4-FFF2-40B4-BE49-F238E27FC236}">
                <a16:creationId xmlns:a16="http://schemas.microsoft.com/office/drawing/2014/main" id="{9A221EDB-4C68-467A-A90C-9CF9F53628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473605">
            <a:off x="5720854" y="3866428"/>
            <a:ext cx="454286" cy="813197"/>
          </a:xfrm>
          <a:prstGeom prst="rect">
            <a:avLst/>
          </a:prstGeom>
        </p:spPr>
      </p:pic>
    </p:spTree>
    <p:extLst>
      <p:ext uri="{BB962C8B-B14F-4D97-AF65-F5344CB8AC3E}">
        <p14:creationId xmlns:p14="http://schemas.microsoft.com/office/powerpoint/2010/main" val="19650716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D9C4343-C115-504A-8D4F-0B17318D4A48}" type="slidenum">
              <a:rPr lang="en-US" smtClean="0"/>
              <a:pPr/>
              <a:t>17</a:t>
            </a:fld>
            <a:endParaRPr lang="en-US"/>
          </a:p>
        </p:txBody>
      </p:sp>
      <p:sp>
        <p:nvSpPr>
          <p:cNvPr id="5" name="Title 4"/>
          <p:cNvSpPr>
            <a:spLocks noGrp="1"/>
          </p:cNvSpPr>
          <p:nvPr>
            <p:ph type="title"/>
          </p:nvPr>
        </p:nvSpPr>
        <p:spPr/>
        <p:txBody>
          <a:bodyPr/>
          <a:lstStyle/>
          <a:p>
            <a:r>
              <a:rPr lang="en-US"/>
              <a:t>Comparison of production methods</a:t>
            </a:r>
          </a:p>
        </p:txBody>
      </p:sp>
      <p:graphicFrame>
        <p:nvGraphicFramePr>
          <p:cNvPr id="6" name="Table 5"/>
          <p:cNvGraphicFramePr>
            <a:graphicFrameLocks noGrp="1"/>
          </p:cNvGraphicFramePr>
          <p:nvPr>
            <p:extLst>
              <p:ext uri="{D42A27DB-BD31-4B8C-83A1-F6EECF244321}">
                <p14:modId xmlns:p14="http://schemas.microsoft.com/office/powerpoint/2010/main" val="1172975433"/>
              </p:ext>
            </p:extLst>
          </p:nvPr>
        </p:nvGraphicFramePr>
        <p:xfrm>
          <a:off x="571500" y="1262418"/>
          <a:ext cx="11039475" cy="4387798"/>
        </p:xfrm>
        <a:graphic>
          <a:graphicData uri="http://schemas.openxmlformats.org/drawingml/2006/table">
            <a:tbl>
              <a:tblPr>
                <a:tableStyleId>{616DA210-FB5B-4158-B5E0-FEB733F419BA}</a:tableStyleId>
              </a:tblPr>
              <a:tblGrid>
                <a:gridCol w="3861459">
                  <a:extLst>
                    <a:ext uri="{9D8B030D-6E8A-4147-A177-3AD203B41FA5}">
                      <a16:colId xmlns:a16="http://schemas.microsoft.com/office/drawing/2014/main" val="69302292"/>
                    </a:ext>
                  </a:extLst>
                </a:gridCol>
                <a:gridCol w="3606141">
                  <a:extLst>
                    <a:ext uri="{9D8B030D-6E8A-4147-A177-3AD203B41FA5}">
                      <a16:colId xmlns:a16="http://schemas.microsoft.com/office/drawing/2014/main" val="2768912255"/>
                    </a:ext>
                  </a:extLst>
                </a:gridCol>
                <a:gridCol w="3571875">
                  <a:extLst>
                    <a:ext uri="{9D8B030D-6E8A-4147-A177-3AD203B41FA5}">
                      <a16:colId xmlns:a16="http://schemas.microsoft.com/office/drawing/2014/main" val="2064297844"/>
                    </a:ext>
                  </a:extLst>
                </a:gridCol>
              </a:tblGrid>
              <a:tr h="456016">
                <a:tc>
                  <a:txBody>
                    <a:bodyPr/>
                    <a:lstStyle/>
                    <a:p>
                      <a:pPr algn="l" fontAlgn="b">
                        <a:lnSpc>
                          <a:spcPct val="90000"/>
                        </a:lnSpc>
                      </a:pPr>
                      <a:endParaRPr lang="en-US" sz="1600" b="0" i="0" u="none" strike="noStrike">
                        <a:solidFill>
                          <a:srgbClr val="000000"/>
                        </a:solidFill>
                        <a:effectLst/>
                        <a:latin typeface="+mj-lt"/>
                      </a:endParaRPr>
                    </a:p>
                  </a:txBody>
                  <a:tcPr marL="9523" marR="9523" marT="9523"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lnSpc>
                          <a:spcPct val="90000"/>
                        </a:lnSpc>
                      </a:pPr>
                      <a:r>
                        <a:rPr lang="en-US" sz="1800" b="1" u="none" strike="noStrike">
                          <a:solidFill>
                            <a:schemeClr val="bg1"/>
                          </a:solidFill>
                          <a:effectLst/>
                          <a:latin typeface="+mj-lt"/>
                        </a:rPr>
                        <a:t>Spray</a:t>
                      </a:r>
                      <a:endParaRPr lang="en-US" sz="1800" b="1" i="0" u="none" strike="noStrike">
                        <a:solidFill>
                          <a:schemeClr val="bg1"/>
                        </a:solidFill>
                        <a:effectLst/>
                        <a:latin typeface="+mj-lt"/>
                      </a:endParaRPr>
                    </a:p>
                  </a:txBody>
                  <a:tcPr marL="9523" marR="9523" marT="9523"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fontAlgn="ctr">
                        <a:lnSpc>
                          <a:spcPct val="90000"/>
                        </a:lnSpc>
                      </a:pPr>
                      <a:r>
                        <a:rPr lang="en-US" sz="1800" b="1" u="none" strike="noStrike">
                          <a:solidFill>
                            <a:schemeClr val="bg1"/>
                          </a:solidFill>
                          <a:effectLst/>
                          <a:latin typeface="+mj-lt"/>
                        </a:rPr>
                        <a:t>Roller</a:t>
                      </a:r>
                      <a:endParaRPr lang="en-US" sz="1800" b="1" i="0" u="none" strike="noStrike">
                        <a:solidFill>
                          <a:schemeClr val="bg1"/>
                        </a:solidFill>
                        <a:effectLst/>
                        <a:latin typeface="+mj-lt"/>
                      </a:endParaRPr>
                    </a:p>
                  </a:txBody>
                  <a:tcPr marL="9523" marR="9523" marT="9523"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831812137"/>
                  </a:ext>
                </a:extLst>
              </a:tr>
              <a:tr h="434538">
                <a:tc>
                  <a:txBody>
                    <a:bodyPr/>
                    <a:lstStyle/>
                    <a:p>
                      <a:pPr algn="l" fontAlgn="b">
                        <a:lnSpc>
                          <a:spcPct val="90000"/>
                        </a:lnSpc>
                      </a:pPr>
                      <a:r>
                        <a:rPr lang="en-US" sz="1600" b="1" u="none" strike="noStrike">
                          <a:effectLst/>
                          <a:latin typeface="+mj-lt"/>
                        </a:rPr>
                        <a:t>Number of coating layers</a:t>
                      </a:r>
                      <a:endParaRPr lang="en-US" sz="1600" b="1" i="0" u="none" strike="noStrike">
                        <a:solidFill>
                          <a:srgbClr val="000000"/>
                        </a:solidFill>
                        <a:effectLst/>
                        <a:latin typeface="+mj-lt"/>
                      </a:endParaRPr>
                    </a:p>
                  </a:txBody>
                  <a:tcPr marL="365760"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lnSpc>
                          <a:spcPct val="90000"/>
                        </a:lnSpc>
                      </a:pPr>
                      <a:r>
                        <a:rPr lang="en-US" sz="1600" u="none" strike="noStrike">
                          <a:effectLst/>
                          <a:latin typeface="+mj-lt"/>
                        </a:rPr>
                        <a:t>2</a:t>
                      </a:r>
                      <a:r>
                        <a:rPr lang="en-US" sz="1600" u="none" strike="noStrike" kern="1200">
                          <a:solidFill>
                            <a:schemeClr val="tx1"/>
                          </a:solidFill>
                          <a:effectLst/>
                          <a:latin typeface="+mn-lt"/>
                          <a:ea typeface="+mn-ea"/>
                          <a:cs typeface="+mn-cs"/>
                        </a:rPr>
                        <a:t> - </a:t>
                      </a:r>
                      <a:r>
                        <a:rPr lang="en-US" sz="1600" u="none" strike="noStrike">
                          <a:effectLst/>
                          <a:latin typeface="+mj-lt"/>
                        </a:rPr>
                        <a:t>3</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lnSpc>
                          <a:spcPct val="90000"/>
                        </a:lnSpc>
                      </a:pPr>
                      <a:r>
                        <a:rPr lang="en-US" sz="1600" u="none" strike="noStrike">
                          <a:effectLst/>
                          <a:latin typeface="+mj-lt"/>
                        </a:rPr>
                        <a:t>4</a:t>
                      </a:r>
                      <a:r>
                        <a:rPr lang="en-US" sz="1600" u="none" strike="noStrike" kern="1200">
                          <a:solidFill>
                            <a:schemeClr val="tx1"/>
                          </a:solidFill>
                          <a:effectLst/>
                          <a:latin typeface="+mn-lt"/>
                          <a:ea typeface="+mn-ea"/>
                          <a:cs typeface="+mn-cs"/>
                        </a:rPr>
                        <a:t> - </a:t>
                      </a:r>
                      <a:r>
                        <a:rPr lang="en-US" sz="1600" u="none" strike="noStrike">
                          <a:effectLst/>
                          <a:latin typeface="+mj-lt"/>
                        </a:rPr>
                        <a:t>5</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715243373"/>
                  </a:ext>
                </a:extLst>
              </a:tr>
              <a:tr h="434538">
                <a:tc>
                  <a:txBody>
                    <a:bodyPr/>
                    <a:lstStyle/>
                    <a:p>
                      <a:pPr algn="l" fontAlgn="b">
                        <a:lnSpc>
                          <a:spcPct val="90000"/>
                        </a:lnSpc>
                      </a:pPr>
                      <a:r>
                        <a:rPr lang="en-US" sz="1600" b="1" u="none" strike="noStrike">
                          <a:effectLst/>
                          <a:latin typeface="+mj-lt"/>
                        </a:rPr>
                        <a:t>Roughening process</a:t>
                      </a:r>
                      <a:endParaRPr lang="en-US" sz="1600" b="1" i="0" u="none" strike="noStrike">
                        <a:solidFill>
                          <a:srgbClr val="000000"/>
                        </a:solidFill>
                        <a:effectLst/>
                        <a:latin typeface="+mj-lt"/>
                      </a:endParaRPr>
                    </a:p>
                  </a:txBody>
                  <a:tcPr marL="365760"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lnSpc>
                          <a:spcPct val="90000"/>
                        </a:lnSpc>
                      </a:pPr>
                      <a:r>
                        <a:rPr lang="nn-NO" sz="1600" u="none" strike="noStrike">
                          <a:effectLst/>
                          <a:latin typeface="+mj-lt"/>
                        </a:rPr>
                        <a:t>Standard = Slow</a:t>
                      </a:r>
                      <a:br>
                        <a:rPr lang="nn-NO" sz="1600" u="none" strike="noStrike">
                          <a:effectLst/>
                          <a:latin typeface="+mj-lt"/>
                        </a:rPr>
                      </a:br>
                      <a:r>
                        <a:rPr lang="nn-NO" sz="1600" u="none" strike="noStrike">
                          <a:effectLst/>
                          <a:latin typeface="+mj-lt"/>
                        </a:rPr>
                        <a:t>"No blast" = Fast</a:t>
                      </a:r>
                      <a:endParaRPr lang="nn-NO"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lnSpc>
                          <a:spcPct val="90000"/>
                        </a:lnSpc>
                      </a:pPr>
                      <a:r>
                        <a:rPr lang="en-US" sz="1600" u="none" strike="noStrike">
                          <a:effectLst/>
                          <a:latin typeface="+mj-lt"/>
                        </a:rPr>
                        <a:t>Fast</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9145900"/>
                  </a:ext>
                </a:extLst>
              </a:tr>
              <a:tr h="434538">
                <a:tc>
                  <a:txBody>
                    <a:bodyPr/>
                    <a:lstStyle/>
                    <a:p>
                      <a:pPr algn="l" fontAlgn="b">
                        <a:lnSpc>
                          <a:spcPct val="90000"/>
                        </a:lnSpc>
                      </a:pPr>
                      <a:r>
                        <a:rPr lang="en-US" sz="1600" b="1" u="none" strike="noStrike">
                          <a:effectLst/>
                          <a:latin typeface="+mj-lt"/>
                        </a:rPr>
                        <a:t>Coating speed (pieces/hour)</a:t>
                      </a:r>
                      <a:endParaRPr lang="en-US" sz="1600" b="1" i="0" u="none" strike="noStrike">
                        <a:solidFill>
                          <a:srgbClr val="000000"/>
                        </a:solidFill>
                        <a:effectLst/>
                        <a:latin typeface="+mj-lt"/>
                      </a:endParaRPr>
                    </a:p>
                  </a:txBody>
                  <a:tcPr marL="365760"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lnSpc>
                          <a:spcPct val="90000"/>
                        </a:lnSpc>
                      </a:pPr>
                      <a:r>
                        <a:rPr lang="en-US" sz="1600" u="none" strike="noStrike">
                          <a:effectLst/>
                          <a:latin typeface="+mj-lt"/>
                        </a:rPr>
                        <a:t>Under 1,000</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lnSpc>
                          <a:spcPct val="90000"/>
                        </a:lnSpc>
                      </a:pPr>
                      <a:r>
                        <a:rPr lang="en-US" sz="1600" u="none" strike="noStrike">
                          <a:effectLst/>
                          <a:latin typeface="+mj-lt"/>
                        </a:rPr>
                        <a:t>3,000 - 4,000</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346746462"/>
                  </a:ext>
                </a:extLst>
              </a:tr>
              <a:tr h="434538">
                <a:tc>
                  <a:txBody>
                    <a:bodyPr/>
                    <a:lstStyle/>
                    <a:p>
                      <a:pPr algn="l" fontAlgn="b">
                        <a:lnSpc>
                          <a:spcPct val="90000"/>
                        </a:lnSpc>
                      </a:pPr>
                      <a:r>
                        <a:rPr lang="en-US" sz="1600" b="1" u="none" strike="noStrike">
                          <a:effectLst/>
                          <a:latin typeface="+mj-lt"/>
                        </a:rPr>
                        <a:t>Coating efficiency</a:t>
                      </a:r>
                      <a:endParaRPr lang="en-US" sz="1600" b="1" i="0" u="none" strike="noStrike">
                        <a:solidFill>
                          <a:srgbClr val="000000"/>
                        </a:solidFill>
                        <a:effectLst/>
                        <a:latin typeface="+mj-lt"/>
                      </a:endParaRPr>
                    </a:p>
                  </a:txBody>
                  <a:tcPr marL="365760"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lnSpc>
                          <a:spcPct val="90000"/>
                        </a:lnSpc>
                      </a:pPr>
                      <a:r>
                        <a:rPr lang="en-US" sz="1600" u="none" strike="noStrike">
                          <a:effectLst/>
                          <a:latin typeface="+mj-lt"/>
                        </a:rPr>
                        <a:t>50 - 60%</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lnSpc>
                          <a:spcPct val="90000"/>
                        </a:lnSpc>
                      </a:pPr>
                      <a:r>
                        <a:rPr lang="en-US" sz="1600" u="none" strike="noStrike">
                          <a:effectLst/>
                          <a:latin typeface="+mj-lt"/>
                        </a:rPr>
                        <a:t>95%</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8894044"/>
                  </a:ext>
                </a:extLst>
              </a:tr>
              <a:tr h="434538">
                <a:tc>
                  <a:txBody>
                    <a:bodyPr/>
                    <a:lstStyle/>
                    <a:p>
                      <a:pPr algn="l" fontAlgn="b">
                        <a:lnSpc>
                          <a:spcPct val="90000"/>
                        </a:lnSpc>
                      </a:pPr>
                      <a:r>
                        <a:rPr lang="en-US" sz="1600" b="1" u="none" strike="noStrike">
                          <a:effectLst/>
                          <a:latin typeface="+mj-lt"/>
                        </a:rPr>
                        <a:t>Appearance</a:t>
                      </a:r>
                      <a:endParaRPr lang="en-US" sz="1600" b="1" i="0" u="none" strike="noStrike">
                        <a:solidFill>
                          <a:srgbClr val="000000"/>
                        </a:solidFill>
                        <a:effectLst/>
                        <a:latin typeface="+mj-lt"/>
                      </a:endParaRPr>
                    </a:p>
                  </a:txBody>
                  <a:tcPr marL="365760"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lnSpc>
                          <a:spcPct val="90000"/>
                        </a:lnSpc>
                      </a:pPr>
                      <a:r>
                        <a:rPr lang="en-US" sz="1600" u="none" strike="noStrike">
                          <a:effectLst/>
                          <a:latin typeface="+mj-lt"/>
                        </a:rPr>
                        <a:t>Smooth; higher gloss</a:t>
                      </a:r>
                      <a:br>
                        <a:rPr lang="en-US" sz="1600" u="none" strike="noStrike">
                          <a:effectLst/>
                          <a:latin typeface="+mj-lt"/>
                        </a:rPr>
                      </a:br>
                      <a:r>
                        <a:rPr lang="en-US" sz="1600" u="none" strike="noStrike">
                          <a:effectLst/>
                          <a:latin typeface="+mj-lt"/>
                        </a:rPr>
                        <a:t>Rough can be achieved if desired</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lnSpc>
                          <a:spcPct val="90000"/>
                        </a:lnSpc>
                      </a:pPr>
                      <a:r>
                        <a:rPr lang="en-US" sz="1600" u="none" strike="noStrike">
                          <a:effectLst/>
                          <a:latin typeface="+mj-lt"/>
                        </a:rPr>
                        <a:t>Many ridges; lower gloss</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530013952"/>
                  </a:ext>
                </a:extLst>
              </a:tr>
              <a:tr h="434538">
                <a:tc>
                  <a:txBody>
                    <a:bodyPr/>
                    <a:lstStyle/>
                    <a:p>
                      <a:pPr algn="l" fontAlgn="b">
                        <a:lnSpc>
                          <a:spcPct val="90000"/>
                        </a:lnSpc>
                      </a:pPr>
                      <a:r>
                        <a:rPr lang="en-US" sz="1600" b="1" u="none" strike="noStrike">
                          <a:effectLst/>
                          <a:latin typeface="+mj-lt"/>
                        </a:rPr>
                        <a:t>Performance</a:t>
                      </a:r>
                      <a:endParaRPr lang="en-US" sz="1600" b="1" i="0" u="none" strike="noStrike">
                        <a:solidFill>
                          <a:srgbClr val="000000"/>
                        </a:solidFill>
                        <a:effectLst/>
                        <a:latin typeface="+mj-lt"/>
                      </a:endParaRPr>
                    </a:p>
                  </a:txBody>
                  <a:tcPr marL="365760"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lnSpc>
                          <a:spcPct val="90000"/>
                        </a:lnSpc>
                      </a:pPr>
                      <a:r>
                        <a:rPr lang="en-US" sz="1600" b="0" i="0" u="none" strike="noStrike">
                          <a:solidFill>
                            <a:schemeClr val="tx1"/>
                          </a:solidFill>
                          <a:effectLst/>
                          <a:latin typeface="+mj-lt"/>
                        </a:rPr>
                        <a:t>Good,</a:t>
                      </a:r>
                      <a:r>
                        <a:rPr lang="en-US" sz="1600" b="0" i="0" u="none" strike="noStrike" baseline="0">
                          <a:solidFill>
                            <a:schemeClr val="tx1"/>
                          </a:solidFill>
                          <a:effectLst/>
                          <a:latin typeface="+mj-lt"/>
                        </a:rPr>
                        <a:t> better, best</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lnSpc>
                          <a:spcPct val="90000"/>
                        </a:lnSpc>
                      </a:pPr>
                      <a:r>
                        <a:rPr lang="en-US" sz="1600" b="0" i="0" u="none" strike="noStrike">
                          <a:solidFill>
                            <a:srgbClr val="000000"/>
                          </a:solidFill>
                          <a:effectLst/>
                          <a:latin typeface="+mj-lt"/>
                        </a:rPr>
                        <a:t>Good</a:t>
                      </a: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1330920"/>
                  </a:ext>
                </a:extLst>
              </a:tr>
              <a:tr h="434538">
                <a:tc>
                  <a:txBody>
                    <a:bodyPr/>
                    <a:lstStyle/>
                    <a:p>
                      <a:pPr lvl="0" algn="l" fontAlgn="b">
                        <a:lnSpc>
                          <a:spcPct val="90000"/>
                        </a:lnSpc>
                      </a:pPr>
                      <a:r>
                        <a:rPr lang="en-US" sz="1600" b="1" u="none" strike="noStrike">
                          <a:effectLst/>
                          <a:latin typeface="+mj-lt"/>
                        </a:rPr>
                        <a:t>Scratch resistance</a:t>
                      </a:r>
                      <a:endParaRPr lang="en-US" sz="1600" b="1" i="0" u="none" strike="noStrike">
                        <a:solidFill>
                          <a:srgbClr val="000000"/>
                        </a:solidFill>
                        <a:effectLst/>
                        <a:latin typeface="+mj-lt"/>
                      </a:endParaRPr>
                    </a:p>
                  </a:txBody>
                  <a:tcPr marL="365760"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lnSpc>
                          <a:spcPct val="90000"/>
                        </a:lnSpc>
                      </a:pPr>
                      <a:r>
                        <a:rPr lang="en-US" sz="1600" u="none" strike="noStrike">
                          <a:effectLst/>
                          <a:latin typeface="+mj-lt"/>
                        </a:rPr>
                        <a:t>4 - 5 </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lnSpc>
                          <a:spcPct val="90000"/>
                        </a:lnSpc>
                      </a:pPr>
                      <a:r>
                        <a:rPr lang="en-US" sz="1600" u="none" strike="noStrike">
                          <a:effectLst/>
                          <a:latin typeface="+mj-lt"/>
                        </a:rPr>
                        <a:t>2 - 3 </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716156248"/>
                  </a:ext>
                </a:extLst>
              </a:tr>
              <a:tr h="434538">
                <a:tc>
                  <a:txBody>
                    <a:bodyPr/>
                    <a:lstStyle/>
                    <a:p>
                      <a:pPr lvl="0" algn="l" fontAlgn="b">
                        <a:lnSpc>
                          <a:spcPct val="90000"/>
                        </a:lnSpc>
                      </a:pPr>
                      <a:r>
                        <a:rPr lang="en-US" sz="1600" b="1" u="none" strike="noStrike">
                          <a:effectLst/>
                          <a:latin typeface="+mj-lt"/>
                        </a:rPr>
                        <a:t>Abrasion</a:t>
                      </a:r>
                      <a:endParaRPr lang="en-US" sz="1600" b="1" i="0" u="none" strike="noStrike">
                        <a:solidFill>
                          <a:srgbClr val="000000"/>
                        </a:solidFill>
                        <a:effectLst/>
                        <a:latin typeface="+mj-lt"/>
                      </a:endParaRPr>
                    </a:p>
                  </a:txBody>
                  <a:tcPr marL="365760"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lnSpc>
                          <a:spcPct val="90000"/>
                        </a:lnSpc>
                      </a:pPr>
                      <a:r>
                        <a:rPr lang="en-US" sz="1600" u="none" strike="noStrike">
                          <a:effectLst/>
                          <a:latin typeface="+mj-lt"/>
                        </a:rPr>
                        <a:t>4 - 5</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lnSpc>
                          <a:spcPct val="90000"/>
                        </a:lnSpc>
                      </a:pPr>
                      <a:r>
                        <a:rPr lang="en-US" sz="1600" u="none" strike="noStrike">
                          <a:effectLst/>
                          <a:latin typeface="+mj-lt"/>
                        </a:rPr>
                        <a:t>1 - 2</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2084979"/>
                  </a:ext>
                </a:extLst>
              </a:tr>
              <a:tr h="434538">
                <a:tc>
                  <a:txBody>
                    <a:bodyPr/>
                    <a:lstStyle/>
                    <a:p>
                      <a:pPr lvl="0" algn="l" fontAlgn="b">
                        <a:lnSpc>
                          <a:spcPct val="90000"/>
                        </a:lnSpc>
                      </a:pPr>
                      <a:r>
                        <a:rPr lang="en-US" sz="1600" b="1" u="none" strike="noStrike">
                          <a:effectLst/>
                          <a:latin typeface="+mj-lt"/>
                        </a:rPr>
                        <a:t>Release</a:t>
                      </a:r>
                      <a:endParaRPr lang="en-US" sz="1600" b="1" i="0" u="none" strike="noStrike">
                        <a:solidFill>
                          <a:srgbClr val="000000"/>
                        </a:solidFill>
                        <a:effectLst/>
                        <a:latin typeface="+mj-lt"/>
                      </a:endParaRPr>
                    </a:p>
                  </a:txBody>
                  <a:tcPr marL="365760"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lnSpc>
                          <a:spcPct val="90000"/>
                        </a:lnSpc>
                      </a:pPr>
                      <a:r>
                        <a:rPr lang="en-US" sz="1600" u="none" strike="noStrike">
                          <a:effectLst/>
                          <a:latin typeface="+mj-lt"/>
                        </a:rPr>
                        <a:t>4 - 5</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lnSpc>
                          <a:spcPct val="90000"/>
                        </a:lnSpc>
                      </a:pPr>
                      <a:r>
                        <a:rPr lang="en-US" sz="1600" u="none" strike="noStrike">
                          <a:effectLst/>
                          <a:latin typeface="+mj-lt"/>
                        </a:rPr>
                        <a:t>3 - 4 </a:t>
                      </a:r>
                      <a:endParaRPr lang="en-US" sz="1600" b="0" i="0" u="none" strike="noStrike">
                        <a:solidFill>
                          <a:srgbClr val="000000"/>
                        </a:solidFill>
                        <a:effectLst/>
                        <a:latin typeface="+mj-lt"/>
                      </a:endParaRPr>
                    </a:p>
                  </a:txBody>
                  <a:tcPr marL="9523" marR="952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634301846"/>
                  </a:ext>
                </a:extLst>
              </a:tr>
            </a:tbl>
          </a:graphicData>
        </a:graphic>
      </p:graphicFrame>
    </p:spTree>
    <p:extLst>
      <p:ext uri="{BB962C8B-B14F-4D97-AF65-F5344CB8AC3E}">
        <p14:creationId xmlns:p14="http://schemas.microsoft.com/office/powerpoint/2010/main" val="11486703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00238E22-B529-451B-A0CE-713E37AA66C5}"/>
              </a:ext>
            </a:extLst>
          </p:cNvPr>
          <p:cNvCxnSpPr>
            <a:cxnSpLocks/>
          </p:cNvCxnSpPr>
          <p:nvPr/>
        </p:nvCxnSpPr>
        <p:spPr>
          <a:xfrm>
            <a:off x="720560" y="1708005"/>
            <a:ext cx="10549517"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12"/>
          </p:nvPr>
        </p:nvSpPr>
        <p:spPr/>
        <p:txBody>
          <a:bodyPr/>
          <a:lstStyle/>
          <a:p>
            <a:fld id="{FD9C4343-C115-504A-8D4F-0B17318D4A48}" type="slidenum">
              <a:rPr lang="en-US" smtClean="0"/>
              <a:pPr/>
              <a:t>18</a:t>
            </a:fld>
            <a:endParaRPr lang="en-US"/>
          </a:p>
        </p:txBody>
      </p:sp>
      <p:sp>
        <p:nvSpPr>
          <p:cNvPr id="3" name="Title 2">
            <a:extLst>
              <a:ext uri="{FF2B5EF4-FFF2-40B4-BE49-F238E27FC236}">
                <a16:creationId xmlns:a16="http://schemas.microsoft.com/office/drawing/2014/main" id="{3584770E-44A4-44C5-AA14-7279D4E913FA}"/>
              </a:ext>
            </a:extLst>
          </p:cNvPr>
          <p:cNvSpPr>
            <a:spLocks noGrp="1"/>
          </p:cNvSpPr>
          <p:nvPr>
            <p:ph type="title"/>
          </p:nvPr>
        </p:nvSpPr>
        <p:spPr>
          <a:xfrm>
            <a:off x="503276" y="324658"/>
            <a:ext cx="11667744" cy="859312"/>
          </a:xfrm>
        </p:spPr>
        <p:txBody>
          <a:bodyPr/>
          <a:lstStyle/>
          <a:p>
            <a:r>
              <a:rPr lang="en-US"/>
              <a:t>Production methods for bakeware</a:t>
            </a:r>
          </a:p>
        </p:txBody>
      </p:sp>
      <p:sp>
        <p:nvSpPr>
          <p:cNvPr id="6" name="TextBox 5">
            <a:extLst>
              <a:ext uri="{FF2B5EF4-FFF2-40B4-BE49-F238E27FC236}">
                <a16:creationId xmlns:a16="http://schemas.microsoft.com/office/drawing/2014/main" id="{C35BEAAB-B7FE-4FC4-84DC-D9BD125E0633}"/>
              </a:ext>
            </a:extLst>
          </p:cNvPr>
          <p:cNvSpPr txBox="1"/>
          <p:nvPr/>
        </p:nvSpPr>
        <p:spPr>
          <a:xfrm>
            <a:off x="1815666" y="1149732"/>
            <a:ext cx="3328154" cy="584623"/>
          </a:xfrm>
          <a:prstGeom prst="rect">
            <a:avLst/>
          </a:prstGeom>
          <a:noFill/>
        </p:spPr>
        <p:txBody>
          <a:bodyPr wrap="square">
            <a:spAutoFit/>
          </a:bodyPr>
          <a:lstStyle/>
          <a:p>
            <a:pPr algn="ctr"/>
            <a:r>
              <a:rPr lang="en-US" sz="3199" b="1" spc="-150">
                <a:solidFill>
                  <a:schemeClr val="accent4"/>
                </a:solidFill>
              </a:rPr>
              <a:t>Pre coating</a:t>
            </a:r>
          </a:p>
        </p:txBody>
      </p:sp>
      <p:sp>
        <p:nvSpPr>
          <p:cNvPr id="10" name="TextBox 9">
            <a:extLst>
              <a:ext uri="{FF2B5EF4-FFF2-40B4-BE49-F238E27FC236}">
                <a16:creationId xmlns:a16="http://schemas.microsoft.com/office/drawing/2014/main" id="{613746BA-7C3C-472E-A4EA-72C022F4C7EA}"/>
              </a:ext>
            </a:extLst>
          </p:cNvPr>
          <p:cNvSpPr txBox="1"/>
          <p:nvPr/>
        </p:nvSpPr>
        <p:spPr>
          <a:xfrm>
            <a:off x="6289544" y="1149732"/>
            <a:ext cx="4118911" cy="584623"/>
          </a:xfrm>
          <a:prstGeom prst="rect">
            <a:avLst/>
          </a:prstGeom>
          <a:noFill/>
        </p:spPr>
        <p:txBody>
          <a:bodyPr wrap="square">
            <a:spAutoFit/>
          </a:bodyPr>
          <a:lstStyle/>
          <a:p>
            <a:pPr algn="ctr"/>
            <a:r>
              <a:rPr lang="en-US" sz="3199" b="1" spc="-150">
                <a:solidFill>
                  <a:schemeClr val="accent6"/>
                </a:solidFill>
              </a:rPr>
              <a:t>Post coating </a:t>
            </a:r>
          </a:p>
        </p:txBody>
      </p:sp>
      <p:sp>
        <p:nvSpPr>
          <p:cNvPr id="12" name="TextBox 11">
            <a:extLst>
              <a:ext uri="{FF2B5EF4-FFF2-40B4-BE49-F238E27FC236}">
                <a16:creationId xmlns:a16="http://schemas.microsoft.com/office/drawing/2014/main" id="{93203024-3183-494D-BA30-16DCBC63E9AD}"/>
              </a:ext>
            </a:extLst>
          </p:cNvPr>
          <p:cNvSpPr txBox="1"/>
          <p:nvPr/>
        </p:nvSpPr>
        <p:spPr>
          <a:xfrm>
            <a:off x="5400688" y="1180242"/>
            <a:ext cx="679778" cy="679237"/>
          </a:xfrm>
          <a:prstGeom prst="ellipse">
            <a:avLst/>
          </a:prstGeom>
          <a:solidFill>
            <a:schemeClr val="accent1"/>
          </a:solidFill>
          <a:ln w="57150">
            <a:solidFill>
              <a:schemeClr val="bg1"/>
            </a:solidFill>
          </a:ln>
        </p:spPr>
        <p:txBody>
          <a:bodyPr wrap="none" lIns="0" tIns="0" rIns="0" bIns="91392" anchor="ctr">
            <a:noAutofit/>
          </a:bodyPr>
          <a:lstStyle/>
          <a:p>
            <a:pPr algn="ctr"/>
            <a:r>
              <a:rPr lang="en-US" sz="2399">
                <a:solidFill>
                  <a:schemeClr val="bg1"/>
                </a:solidFill>
              </a:rPr>
              <a:t>vs</a:t>
            </a:r>
          </a:p>
        </p:txBody>
      </p:sp>
      <p:sp>
        <p:nvSpPr>
          <p:cNvPr id="15" name="Content Placeholder 8">
            <a:extLst>
              <a:ext uri="{FF2B5EF4-FFF2-40B4-BE49-F238E27FC236}">
                <a16:creationId xmlns:a16="http://schemas.microsoft.com/office/drawing/2014/main" id="{450A9894-2D69-4501-9F8F-500F22C56912}"/>
              </a:ext>
            </a:extLst>
          </p:cNvPr>
          <p:cNvSpPr txBox="1">
            <a:spLocks/>
          </p:cNvSpPr>
          <p:nvPr/>
        </p:nvSpPr>
        <p:spPr>
          <a:xfrm>
            <a:off x="1154141" y="2023403"/>
            <a:ext cx="3913049" cy="1706133"/>
          </a:xfrm>
          <a:prstGeom prst="rect">
            <a:avLst/>
          </a:prstGeom>
        </p:spPr>
        <p:txBody>
          <a:bodyPr vert="horz" lIns="0" tIns="0" rIns="0" bIns="0" rtlCol="0" anchor="t">
            <a:no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gn="ctr">
              <a:lnSpc>
                <a:spcPct val="90000"/>
              </a:lnSpc>
              <a:spcBef>
                <a:spcPts val="1200"/>
              </a:spcBef>
              <a:buNone/>
            </a:pPr>
            <a:r>
              <a:rPr lang="en-US" sz="1950"/>
              <a:t>Before forming the article</a:t>
            </a:r>
            <a:endParaRPr lang="en-US" sz="1999"/>
          </a:p>
          <a:p>
            <a:pPr marL="0" indent="0" algn="ctr">
              <a:lnSpc>
                <a:spcPct val="90000"/>
              </a:lnSpc>
              <a:spcBef>
                <a:spcPts val="1200"/>
              </a:spcBef>
              <a:buNone/>
            </a:pPr>
            <a:r>
              <a:rPr lang="en-US" sz="1999"/>
              <a:t>Coatings are a compromise of damage resistance and flexibility</a:t>
            </a:r>
          </a:p>
          <a:p>
            <a:pPr marL="0" indent="0" algn="ctr">
              <a:lnSpc>
                <a:spcPct val="90000"/>
              </a:lnSpc>
              <a:spcBef>
                <a:spcPts val="1200"/>
              </a:spcBef>
              <a:buNone/>
            </a:pPr>
            <a:r>
              <a:rPr lang="en-US" sz="1999"/>
              <a:t>Application is fast </a:t>
            </a:r>
            <a:br>
              <a:rPr lang="en-US" sz="1999"/>
            </a:br>
            <a:r>
              <a:rPr lang="en-US" sz="1999"/>
              <a:t>and efficient</a:t>
            </a:r>
          </a:p>
          <a:p>
            <a:pPr marL="0" indent="0" algn="r">
              <a:lnSpc>
                <a:spcPct val="90000"/>
              </a:lnSpc>
              <a:spcBef>
                <a:spcPts val="1200"/>
              </a:spcBef>
              <a:buNone/>
            </a:pPr>
            <a:endParaRPr lang="en-US" sz="1999"/>
          </a:p>
        </p:txBody>
      </p:sp>
      <p:sp>
        <p:nvSpPr>
          <p:cNvPr id="17" name="TextBox 16">
            <a:extLst>
              <a:ext uri="{FF2B5EF4-FFF2-40B4-BE49-F238E27FC236}">
                <a16:creationId xmlns:a16="http://schemas.microsoft.com/office/drawing/2014/main" id="{6DB0E31E-DDEC-459C-8CEF-D6540D4AB2E4}"/>
              </a:ext>
            </a:extLst>
          </p:cNvPr>
          <p:cNvSpPr txBox="1"/>
          <p:nvPr/>
        </p:nvSpPr>
        <p:spPr>
          <a:xfrm>
            <a:off x="6862826" y="2024028"/>
            <a:ext cx="3259988" cy="1705615"/>
          </a:xfrm>
          <a:prstGeom prst="rect">
            <a:avLst/>
          </a:prstGeom>
          <a:noFill/>
        </p:spPr>
        <p:txBody>
          <a:bodyPr wrap="square" lIns="91440" tIns="45720" rIns="91440" bIns="45720" anchor="t">
            <a:noAutofit/>
          </a:bodyPr>
          <a:lstStyle/>
          <a:p>
            <a:pPr algn="ctr">
              <a:lnSpc>
                <a:spcPct val="90000"/>
              </a:lnSpc>
              <a:spcBef>
                <a:spcPts val="1200"/>
              </a:spcBef>
            </a:pPr>
            <a:r>
              <a:rPr lang="en-US" sz="1950"/>
              <a:t>After forming the article</a:t>
            </a:r>
            <a:endParaRPr lang="en-US" sz="1999"/>
          </a:p>
          <a:p>
            <a:pPr algn="ctr">
              <a:lnSpc>
                <a:spcPct val="90000"/>
              </a:lnSpc>
              <a:spcBef>
                <a:spcPts val="1200"/>
              </a:spcBef>
            </a:pPr>
            <a:r>
              <a:rPr lang="en-US" sz="1950"/>
              <a:t>Coatings focused </a:t>
            </a:r>
            <a:br>
              <a:rPr lang="en-US" sz="1950"/>
            </a:br>
            <a:r>
              <a:rPr lang="en-US" sz="1950"/>
              <a:t>on a range of performance</a:t>
            </a:r>
            <a:endParaRPr lang="en-US" sz="1950">
              <a:cs typeface="Arial"/>
            </a:endParaRPr>
          </a:p>
          <a:p>
            <a:pPr algn="ctr">
              <a:lnSpc>
                <a:spcPct val="90000"/>
              </a:lnSpc>
              <a:spcBef>
                <a:spcPts val="1200"/>
              </a:spcBef>
            </a:pPr>
            <a:r>
              <a:rPr lang="en-US" sz="1999"/>
              <a:t>Application is </a:t>
            </a:r>
            <a:br>
              <a:rPr lang="en-US" sz="1999"/>
            </a:br>
            <a:r>
              <a:rPr lang="en-US" sz="1999"/>
              <a:t>less efficient</a:t>
            </a:r>
          </a:p>
        </p:txBody>
      </p:sp>
      <p:sp>
        <p:nvSpPr>
          <p:cNvPr id="7" name="Rectangle 6">
            <a:extLst>
              <a:ext uri="{FF2B5EF4-FFF2-40B4-BE49-F238E27FC236}">
                <a16:creationId xmlns:a16="http://schemas.microsoft.com/office/drawing/2014/main" id="{098B1ED5-8B1A-4884-8A2E-A402B5050FA9}"/>
              </a:ext>
            </a:extLst>
          </p:cNvPr>
          <p:cNvSpPr/>
          <p:nvPr/>
        </p:nvSpPr>
        <p:spPr>
          <a:xfrm>
            <a:off x="6412594" y="3890787"/>
            <a:ext cx="3872811" cy="422045"/>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82832" rtlCol="0" anchor="ctr"/>
          <a:lstStyle/>
          <a:p>
            <a:pPr algn="ctr">
              <a:lnSpc>
                <a:spcPct val="90000"/>
              </a:lnSpc>
              <a:spcBef>
                <a:spcPts val="600"/>
              </a:spcBef>
            </a:pPr>
            <a:r>
              <a:rPr lang="en-US" sz="1799"/>
              <a:t>Spray coating for bakeware</a:t>
            </a:r>
          </a:p>
        </p:txBody>
      </p:sp>
      <p:sp>
        <p:nvSpPr>
          <p:cNvPr id="18" name="Rectangle 17">
            <a:extLst>
              <a:ext uri="{FF2B5EF4-FFF2-40B4-BE49-F238E27FC236}">
                <a16:creationId xmlns:a16="http://schemas.microsoft.com/office/drawing/2014/main" id="{CE970C7C-CB1C-4596-905D-F677E30F365C}"/>
              </a:ext>
            </a:extLst>
          </p:cNvPr>
          <p:cNvSpPr/>
          <p:nvPr/>
        </p:nvSpPr>
        <p:spPr>
          <a:xfrm>
            <a:off x="1303147" y="3912192"/>
            <a:ext cx="3840673" cy="42204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Ins="182832" rtlCol="0" anchor="ctr"/>
          <a:lstStyle/>
          <a:p>
            <a:pPr algn="ctr">
              <a:lnSpc>
                <a:spcPct val="90000"/>
              </a:lnSpc>
              <a:spcBef>
                <a:spcPts val="600"/>
              </a:spcBef>
            </a:pPr>
            <a:r>
              <a:rPr lang="en-US" sz="1799"/>
              <a:t>Coil coating for bakeware</a:t>
            </a:r>
          </a:p>
        </p:txBody>
      </p:sp>
      <p:pic>
        <p:nvPicPr>
          <p:cNvPr id="11" name="Picture 10">
            <a:extLst>
              <a:ext uri="{FF2B5EF4-FFF2-40B4-BE49-F238E27FC236}">
                <a16:creationId xmlns:a16="http://schemas.microsoft.com/office/drawing/2014/main" id="{88C57B4B-7F12-C241-990E-0E750BA81243}"/>
              </a:ext>
            </a:extLst>
          </p:cNvPr>
          <p:cNvPicPr>
            <a:picLocks noChangeAspect="1"/>
          </p:cNvPicPr>
          <p:nvPr/>
        </p:nvPicPr>
        <p:blipFill>
          <a:blip r:embed="rId3"/>
          <a:stretch>
            <a:fillRect/>
          </a:stretch>
        </p:blipFill>
        <p:spPr>
          <a:xfrm>
            <a:off x="7196106" y="4312832"/>
            <a:ext cx="2593704" cy="2297039"/>
          </a:xfrm>
          <a:prstGeom prst="rect">
            <a:avLst/>
          </a:prstGeom>
        </p:spPr>
      </p:pic>
      <p:pic>
        <p:nvPicPr>
          <p:cNvPr id="19" name="Picture 18">
            <a:extLst>
              <a:ext uri="{FF2B5EF4-FFF2-40B4-BE49-F238E27FC236}">
                <a16:creationId xmlns:a16="http://schemas.microsoft.com/office/drawing/2014/main" id="{548E694B-D617-E476-CF83-0CEC3646F15C}"/>
              </a:ext>
            </a:extLst>
          </p:cNvPr>
          <p:cNvPicPr>
            <a:picLocks noChangeAspect="1"/>
          </p:cNvPicPr>
          <p:nvPr/>
        </p:nvPicPr>
        <p:blipFill>
          <a:blip r:embed="rId4"/>
          <a:stretch>
            <a:fillRect/>
          </a:stretch>
        </p:blipFill>
        <p:spPr>
          <a:xfrm>
            <a:off x="1637423" y="4334236"/>
            <a:ext cx="3324480" cy="2248072"/>
          </a:xfrm>
          <a:prstGeom prst="rect">
            <a:avLst/>
          </a:prstGeom>
        </p:spPr>
      </p:pic>
    </p:spTree>
    <p:extLst>
      <p:ext uri="{BB962C8B-B14F-4D97-AF65-F5344CB8AC3E}">
        <p14:creationId xmlns:p14="http://schemas.microsoft.com/office/powerpoint/2010/main" val="36464869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FD9C4343-C115-504A-8D4F-0B17318D4A48}" type="slidenum">
              <a:rPr lang="en-US" smtClean="0"/>
              <a:pPr/>
              <a:t>19</a:t>
            </a:fld>
            <a:endParaRPr lang="en-US"/>
          </a:p>
        </p:txBody>
      </p:sp>
      <p:sp>
        <p:nvSpPr>
          <p:cNvPr id="4" name="Content Placeholder 3"/>
          <p:cNvSpPr>
            <a:spLocks noGrp="1"/>
          </p:cNvSpPr>
          <p:nvPr>
            <p:ph idx="1"/>
          </p:nvPr>
        </p:nvSpPr>
        <p:spPr>
          <a:xfrm>
            <a:off x="312801" y="1274826"/>
            <a:ext cx="4498035" cy="4713224"/>
          </a:xfrm>
        </p:spPr>
        <p:txBody>
          <a:bodyPr vert="horz" lIns="0" tIns="0" rIns="0" bIns="0" rtlCol="0" anchor="t">
            <a:noAutofit/>
          </a:bodyPr>
          <a:lstStyle/>
          <a:p>
            <a:pPr marL="233045" indent="-233045">
              <a:lnSpc>
                <a:spcPct val="90000"/>
              </a:lnSpc>
              <a:spcBef>
                <a:spcPts val="600"/>
              </a:spcBef>
            </a:pPr>
            <a:r>
              <a:rPr lang="en-US" altLang="en-US" sz="2000">
                <a:latin typeface="+mj-lt"/>
              </a:rPr>
              <a:t>Spraying is typically air atomized, but other delivery methods, including rotary disk or bell can be used</a:t>
            </a:r>
            <a:endParaRPr lang="en-US"/>
          </a:p>
          <a:p>
            <a:pPr marL="233045" indent="-233045">
              <a:lnSpc>
                <a:spcPct val="90000"/>
              </a:lnSpc>
              <a:spcBef>
                <a:spcPts val="600"/>
              </a:spcBef>
            </a:pPr>
            <a:r>
              <a:rPr lang="en-US" altLang="en-US" sz="2000">
                <a:latin typeface="+mj-lt"/>
                <a:cs typeface="Arial" panose="020B0604020202020204" pitchFamily="34" charset="0"/>
              </a:rPr>
              <a:t>Electrically charged paint droplets are attracted to grounded parts improving transfer efficiency</a:t>
            </a:r>
          </a:p>
          <a:p>
            <a:pPr marL="233045" indent="-233045">
              <a:lnSpc>
                <a:spcPct val="90000"/>
              </a:lnSpc>
              <a:spcBef>
                <a:spcPts val="600"/>
              </a:spcBef>
            </a:pPr>
            <a:r>
              <a:rPr lang="en-US" altLang="en-US" sz="2000">
                <a:latin typeface="+mj-lt"/>
                <a:cs typeface="Arial" panose="020B0604020202020204" pitchFamily="34" charset="0"/>
              </a:rPr>
              <a:t>Proper conductivity of liquid coating is important for good transfer efficiency</a:t>
            </a:r>
          </a:p>
          <a:p>
            <a:pPr marL="233045" indent="-233045">
              <a:lnSpc>
                <a:spcPct val="90000"/>
              </a:lnSpc>
              <a:spcBef>
                <a:spcPts val="600"/>
              </a:spcBef>
            </a:pPr>
            <a:r>
              <a:rPr lang="en-US" altLang="en-US" sz="2000">
                <a:latin typeface="+mj-lt"/>
                <a:cs typeface="Arial" panose="020B0604020202020204" pitchFamily="34" charset="0"/>
              </a:rPr>
              <a:t>Best for parts needing </a:t>
            </a:r>
            <a:r>
              <a:rPr lang="ja-JP" altLang="en-US" sz="2000">
                <a:latin typeface="+mj-lt"/>
                <a:cs typeface="Arial" panose="020B0604020202020204" pitchFamily="34" charset="0"/>
              </a:rPr>
              <a:t>“</a:t>
            </a:r>
            <a:r>
              <a:rPr lang="en-US" altLang="ja-JP" sz="2000">
                <a:latin typeface="+mj-lt"/>
                <a:cs typeface="Arial" panose="020B0604020202020204" pitchFamily="34" charset="0"/>
              </a:rPr>
              <a:t>wrap-around</a:t>
            </a:r>
            <a:r>
              <a:rPr lang="ja-JP" altLang="en-US" sz="2000">
                <a:latin typeface="+mj-lt"/>
                <a:cs typeface="Arial" panose="020B0604020202020204" pitchFamily="34" charset="0"/>
              </a:rPr>
              <a:t>”</a:t>
            </a:r>
            <a:r>
              <a:rPr lang="en-US" altLang="ja-JP" sz="2000">
                <a:latin typeface="+mj-lt"/>
                <a:cs typeface="Arial" panose="020B0604020202020204" pitchFamily="34" charset="0"/>
              </a:rPr>
              <a:t> (e.g., wire goods or coating both sides)</a:t>
            </a:r>
          </a:p>
          <a:p>
            <a:pPr marL="233045" indent="-233045">
              <a:lnSpc>
                <a:spcPct val="90000"/>
              </a:lnSpc>
              <a:spcBef>
                <a:spcPts val="600"/>
              </a:spcBef>
            </a:pPr>
            <a:r>
              <a:rPr lang="en-US" altLang="en-US" sz="2000">
                <a:latin typeface="+mj-lt"/>
              </a:rPr>
              <a:t>Difficulty in penetrating deep recesses, and can build up on edges, termed the Faraday Cage Effect</a:t>
            </a:r>
          </a:p>
          <a:p>
            <a:pPr marL="233045" indent="-233045">
              <a:lnSpc>
                <a:spcPct val="90000"/>
              </a:lnSpc>
              <a:spcBef>
                <a:spcPts val="600"/>
              </a:spcBef>
            </a:pPr>
            <a:r>
              <a:rPr lang="en-US" altLang="en-US" sz="2000">
                <a:latin typeface="+mj-lt"/>
              </a:rPr>
              <a:t>A similar method is used for powder coating application</a:t>
            </a:r>
            <a:endParaRPr lang="en-US" altLang="en-US" sz="2000">
              <a:latin typeface="+mj-lt"/>
              <a:cs typeface="Arial" panose="020B0604020202020204" pitchFamily="34" charset="0"/>
            </a:endParaRPr>
          </a:p>
        </p:txBody>
      </p:sp>
      <p:sp>
        <p:nvSpPr>
          <p:cNvPr id="5" name="Title 4"/>
          <p:cNvSpPr>
            <a:spLocks noGrp="1"/>
          </p:cNvSpPr>
          <p:nvPr>
            <p:ph type="title"/>
          </p:nvPr>
        </p:nvSpPr>
        <p:spPr/>
        <p:txBody>
          <a:bodyPr/>
          <a:lstStyle/>
          <a:p>
            <a:r>
              <a:rPr lang="en-US"/>
              <a:t>Electrostatic application</a:t>
            </a:r>
          </a:p>
        </p:txBody>
      </p:sp>
      <p:pic>
        <p:nvPicPr>
          <p:cNvPr id="3" name="Picture 2" descr="A satellite in space&#10;&#10;Description automatically generated with low confidence">
            <a:extLst>
              <a:ext uri="{FF2B5EF4-FFF2-40B4-BE49-F238E27FC236}">
                <a16:creationId xmlns:a16="http://schemas.microsoft.com/office/drawing/2014/main" id="{459AEB3F-06B7-4B9D-BFE4-F5DCFCF33DAF}"/>
              </a:ext>
            </a:extLst>
          </p:cNvPr>
          <p:cNvPicPr>
            <a:picLocks noChangeAspect="1"/>
          </p:cNvPicPr>
          <p:nvPr/>
        </p:nvPicPr>
        <p:blipFill>
          <a:blip r:embed="rId3"/>
          <a:stretch>
            <a:fillRect/>
          </a:stretch>
        </p:blipFill>
        <p:spPr>
          <a:xfrm>
            <a:off x="5576965" y="1015895"/>
            <a:ext cx="6551542" cy="4826210"/>
          </a:xfrm>
          <a:prstGeom prst="rect">
            <a:avLst/>
          </a:prstGeom>
        </p:spPr>
      </p:pic>
    </p:spTree>
    <p:extLst>
      <p:ext uri="{BB962C8B-B14F-4D97-AF65-F5344CB8AC3E}">
        <p14:creationId xmlns:p14="http://schemas.microsoft.com/office/powerpoint/2010/main" val="63077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ue and white sign&#10;&#10;Description automatically generated">
            <a:extLst>
              <a:ext uri="{FF2B5EF4-FFF2-40B4-BE49-F238E27FC236}">
                <a16:creationId xmlns:a16="http://schemas.microsoft.com/office/drawing/2014/main" id="{722BB16F-6558-CD87-419F-7D9D58530F65}"/>
              </a:ext>
            </a:extLst>
          </p:cNvPr>
          <p:cNvPicPr>
            <a:picLocks noChangeAspect="1"/>
          </p:cNvPicPr>
          <p:nvPr/>
        </p:nvPicPr>
        <p:blipFill>
          <a:blip r:embed="rId2"/>
          <a:srcRect l="-47" t="-810" r="47" b="810"/>
          <a:stretch>
            <a:fillRect/>
          </a:stretch>
        </p:blipFill>
        <p:spPr>
          <a:xfrm>
            <a:off x="-3874" y="2939742"/>
            <a:ext cx="8245255" cy="1773807"/>
          </a:xfrm>
          <a:prstGeom prst="rect">
            <a:avLst/>
          </a:prstGeom>
        </p:spPr>
      </p:pic>
      <p:sp>
        <p:nvSpPr>
          <p:cNvPr id="5" name="Content Placeholder 4"/>
          <p:cNvSpPr>
            <a:spLocks noGrp="1"/>
          </p:cNvSpPr>
          <p:nvPr>
            <p:ph idx="1"/>
          </p:nvPr>
        </p:nvSpPr>
        <p:spPr>
          <a:xfrm>
            <a:off x="317319" y="1185140"/>
            <a:ext cx="5602530" cy="5308515"/>
          </a:xfrm>
        </p:spPr>
        <p:txBody>
          <a:bodyPr>
            <a:normAutofit/>
          </a:bodyPr>
          <a:lstStyle/>
          <a:p>
            <a:r>
              <a:rPr lang="en-US"/>
              <a:t>Please mute your microphone.</a:t>
            </a:r>
          </a:p>
          <a:p>
            <a:pPr marL="0" indent="0">
              <a:buNone/>
            </a:pPr>
            <a:endParaRPr lang="en-US"/>
          </a:p>
        </p:txBody>
      </p:sp>
      <p:sp>
        <p:nvSpPr>
          <p:cNvPr id="4" name="Title 3"/>
          <p:cNvSpPr>
            <a:spLocks noGrp="1"/>
          </p:cNvSpPr>
          <p:nvPr>
            <p:ph type="title"/>
          </p:nvPr>
        </p:nvSpPr>
        <p:spPr/>
        <p:txBody>
          <a:bodyPr/>
          <a:lstStyle/>
          <a:p>
            <a:r>
              <a:rPr lang="en-US"/>
              <a:t>Welcome</a:t>
            </a:r>
          </a:p>
        </p:txBody>
      </p:sp>
      <p:pic>
        <p:nvPicPr>
          <p:cNvPr id="9" name="Picture 8"/>
          <p:cNvPicPr>
            <a:picLocks noChangeAspect="1"/>
          </p:cNvPicPr>
          <p:nvPr/>
        </p:nvPicPr>
        <p:blipFill>
          <a:blip r:embed="rId3"/>
          <a:stretch>
            <a:fillRect/>
          </a:stretch>
        </p:blipFill>
        <p:spPr>
          <a:xfrm>
            <a:off x="2062058" y="2062151"/>
            <a:ext cx="3018402" cy="576896"/>
          </a:xfrm>
          <a:prstGeom prst="rect">
            <a:avLst/>
          </a:prstGeom>
        </p:spPr>
      </p:pic>
      <p:sp>
        <p:nvSpPr>
          <p:cNvPr id="10" name="Right Arrow 9"/>
          <p:cNvSpPr/>
          <p:nvPr/>
        </p:nvSpPr>
        <p:spPr>
          <a:xfrm>
            <a:off x="1693917" y="2051933"/>
            <a:ext cx="832823" cy="543145"/>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a:endParaRPr lang="en-US" sz="1797"/>
          </a:p>
        </p:txBody>
      </p:sp>
      <p:sp>
        <p:nvSpPr>
          <p:cNvPr id="12" name="Content Placeholder 4"/>
          <p:cNvSpPr txBox="1">
            <a:spLocks/>
          </p:cNvSpPr>
          <p:nvPr/>
        </p:nvSpPr>
        <p:spPr>
          <a:xfrm>
            <a:off x="317316" y="4863439"/>
            <a:ext cx="11658631" cy="1803123"/>
          </a:xfrm>
          <a:prstGeom prst="rect">
            <a:avLst/>
          </a:prstGeom>
        </p:spPr>
        <p:txBody>
          <a:bodyPr vert="horz" lIns="0" tIns="0" rIns="0" bIns="0" rtlCol="0">
            <a:norm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buNone/>
            </a:pPr>
            <a:endParaRPr lang="en-US" sz="1400"/>
          </a:p>
        </p:txBody>
      </p:sp>
      <p:sp>
        <p:nvSpPr>
          <p:cNvPr id="16" name="Rectangle 15"/>
          <p:cNvSpPr/>
          <p:nvPr/>
        </p:nvSpPr>
        <p:spPr>
          <a:xfrm>
            <a:off x="2628797" y="2132249"/>
            <a:ext cx="351059" cy="414371"/>
          </a:xfrm>
          <a:prstGeom prst="rect">
            <a:avLst/>
          </a:prstGeom>
          <a:noFill/>
          <a:ln w="38100">
            <a:solidFill>
              <a:srgbClr val="CD1F3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a:endParaRPr lang="en-US" sz="1797"/>
          </a:p>
        </p:txBody>
      </p:sp>
      <p:pic>
        <p:nvPicPr>
          <p:cNvPr id="2" name="Picture 1" descr="A computer with a person on the screen&#10;&#10;Description automatically generated">
            <a:extLst>
              <a:ext uri="{FF2B5EF4-FFF2-40B4-BE49-F238E27FC236}">
                <a16:creationId xmlns:a16="http://schemas.microsoft.com/office/drawing/2014/main" id="{C8AFADC2-9952-4F61-0240-2F3896BDB908}"/>
              </a:ext>
            </a:extLst>
          </p:cNvPr>
          <p:cNvPicPr>
            <a:picLocks noChangeAspect="1"/>
          </p:cNvPicPr>
          <p:nvPr/>
        </p:nvPicPr>
        <p:blipFill>
          <a:blip r:embed="rId4"/>
          <a:stretch>
            <a:fillRect/>
          </a:stretch>
        </p:blipFill>
        <p:spPr>
          <a:xfrm>
            <a:off x="1945195" y="893"/>
            <a:ext cx="10240611" cy="6856214"/>
          </a:xfrm>
          <a:prstGeom prst="rect">
            <a:avLst/>
          </a:prstGeom>
        </p:spPr>
      </p:pic>
    </p:spTree>
    <p:extLst>
      <p:ext uri="{BB962C8B-B14F-4D97-AF65-F5344CB8AC3E}">
        <p14:creationId xmlns:p14="http://schemas.microsoft.com/office/powerpoint/2010/main" val="6499945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B4F2606-CF0C-40A0-B870-7F1E889F5D55}"/>
              </a:ext>
            </a:extLst>
          </p:cNvPr>
          <p:cNvSpPr/>
          <p:nvPr/>
        </p:nvSpPr>
        <p:spPr>
          <a:xfrm>
            <a:off x="0" y="1"/>
            <a:ext cx="12188825"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FF68CC17-65E9-42C7-BF6E-B49600121E09}"/>
              </a:ext>
            </a:extLst>
          </p:cNvPr>
          <p:cNvGrpSpPr/>
          <p:nvPr/>
        </p:nvGrpSpPr>
        <p:grpSpPr>
          <a:xfrm>
            <a:off x="11267231" y="6148330"/>
            <a:ext cx="664418" cy="525190"/>
            <a:chOff x="10850888" y="5174158"/>
            <a:chExt cx="664418" cy="525190"/>
          </a:xfrm>
        </p:grpSpPr>
        <p:sp>
          <p:nvSpPr>
            <p:cNvPr id="12" name="Freeform: Shape 11">
              <a:extLst>
                <a:ext uri="{FF2B5EF4-FFF2-40B4-BE49-F238E27FC236}">
                  <a16:creationId xmlns:a16="http://schemas.microsoft.com/office/drawing/2014/main" id="{BBBCFABA-1393-422D-A56F-FF5C9CBC62BF}"/>
                </a:ext>
              </a:extLst>
            </p:cNvPr>
            <p:cNvSpPr/>
            <p:nvPr/>
          </p:nvSpPr>
          <p:spPr>
            <a:xfrm>
              <a:off x="10850888" y="5174158"/>
              <a:ext cx="664418" cy="525190"/>
            </a:xfrm>
            <a:custGeom>
              <a:avLst/>
              <a:gdLst>
                <a:gd name="connsiteX0" fmla="*/ 538546 w 664418"/>
                <a:gd name="connsiteY0" fmla="*/ 525191 h 525190"/>
                <a:gd name="connsiteX1" fmla="*/ 125872 w 664418"/>
                <a:gd name="connsiteY1" fmla="*/ 525191 h 525190"/>
                <a:gd name="connsiteX2" fmla="*/ 0 w 664418"/>
                <a:gd name="connsiteY2" fmla="*/ 399319 h 525190"/>
                <a:gd name="connsiteX3" fmla="*/ 0 w 664418"/>
                <a:gd name="connsiteY3" fmla="*/ 125872 h 525190"/>
                <a:gd name="connsiteX4" fmla="*/ 125872 w 664418"/>
                <a:gd name="connsiteY4" fmla="*/ 0 h 525190"/>
                <a:gd name="connsiteX5" fmla="*/ 538546 w 664418"/>
                <a:gd name="connsiteY5" fmla="*/ 0 h 525190"/>
                <a:gd name="connsiteX6" fmla="*/ 664418 w 664418"/>
                <a:gd name="connsiteY6" fmla="*/ 125872 h 525190"/>
                <a:gd name="connsiteX7" fmla="*/ 664418 w 664418"/>
                <a:gd name="connsiteY7" fmla="*/ 399319 h 525190"/>
                <a:gd name="connsiteX8" fmla="*/ 538546 w 664418"/>
                <a:gd name="connsiteY8" fmla="*/ 525191 h 52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418" h="525190">
                  <a:moveTo>
                    <a:pt x="538546" y="525191"/>
                  </a:moveTo>
                  <a:lnTo>
                    <a:pt x="125872" y="525191"/>
                  </a:lnTo>
                  <a:cubicBezTo>
                    <a:pt x="56425" y="525191"/>
                    <a:pt x="0" y="468765"/>
                    <a:pt x="0" y="399319"/>
                  </a:cubicBezTo>
                  <a:lnTo>
                    <a:pt x="0" y="125872"/>
                  </a:lnTo>
                  <a:cubicBezTo>
                    <a:pt x="0" y="56425"/>
                    <a:pt x="56425" y="0"/>
                    <a:pt x="125872" y="0"/>
                  </a:cubicBezTo>
                  <a:lnTo>
                    <a:pt x="538546" y="0"/>
                  </a:lnTo>
                  <a:cubicBezTo>
                    <a:pt x="607993" y="0"/>
                    <a:pt x="664418" y="56425"/>
                    <a:pt x="664418" y="125872"/>
                  </a:cubicBezTo>
                  <a:lnTo>
                    <a:pt x="664418" y="399319"/>
                  </a:lnTo>
                  <a:cubicBezTo>
                    <a:pt x="664418" y="468765"/>
                    <a:pt x="607993" y="525191"/>
                    <a:pt x="538546" y="525191"/>
                  </a:cubicBezTo>
                  <a:close/>
                </a:path>
              </a:pathLst>
            </a:custGeom>
            <a:solidFill>
              <a:srgbClr val="FFFFFF"/>
            </a:solidFill>
            <a:ln w="3303"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F548750-0781-4005-9CD8-1C84BE577361}"/>
                </a:ext>
              </a:extLst>
            </p:cNvPr>
            <p:cNvSpPr/>
            <p:nvPr/>
          </p:nvSpPr>
          <p:spPr>
            <a:xfrm>
              <a:off x="10873257" y="5196527"/>
              <a:ext cx="619680" cy="480450"/>
            </a:xfrm>
            <a:custGeom>
              <a:avLst/>
              <a:gdLst>
                <a:gd name="connsiteX0" fmla="*/ 516176 w 619680"/>
                <a:gd name="connsiteY0" fmla="*/ 480451 h 480450"/>
                <a:gd name="connsiteX1" fmla="*/ 103502 w 619680"/>
                <a:gd name="connsiteY1" fmla="*/ 480451 h 480450"/>
                <a:gd name="connsiteX2" fmla="*/ 0 w 619680"/>
                <a:gd name="connsiteY2" fmla="*/ 376949 h 480450"/>
                <a:gd name="connsiteX3" fmla="*/ 0 w 619680"/>
                <a:gd name="connsiteY3" fmla="*/ 103502 h 480450"/>
                <a:gd name="connsiteX4" fmla="*/ 103502 w 619680"/>
                <a:gd name="connsiteY4" fmla="*/ 0 h 480450"/>
                <a:gd name="connsiteX5" fmla="*/ 516176 w 619680"/>
                <a:gd name="connsiteY5" fmla="*/ 0 h 480450"/>
                <a:gd name="connsiteX6" fmla="*/ 619678 w 619680"/>
                <a:gd name="connsiteY6" fmla="*/ 103502 h 480450"/>
                <a:gd name="connsiteX7" fmla="*/ 619678 w 619680"/>
                <a:gd name="connsiteY7" fmla="*/ 376949 h 480450"/>
                <a:gd name="connsiteX8" fmla="*/ 516176 w 619680"/>
                <a:gd name="connsiteY8" fmla="*/ 480451 h 4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680" h="480450">
                  <a:moveTo>
                    <a:pt x="516176" y="480451"/>
                  </a:moveTo>
                  <a:lnTo>
                    <a:pt x="103502" y="480451"/>
                  </a:lnTo>
                  <a:cubicBezTo>
                    <a:pt x="46409" y="480451"/>
                    <a:pt x="0" y="433708"/>
                    <a:pt x="0" y="376949"/>
                  </a:cubicBezTo>
                  <a:lnTo>
                    <a:pt x="0" y="103502"/>
                  </a:lnTo>
                  <a:cubicBezTo>
                    <a:pt x="0" y="46409"/>
                    <a:pt x="46743" y="0"/>
                    <a:pt x="103502" y="0"/>
                  </a:cubicBezTo>
                  <a:lnTo>
                    <a:pt x="516176" y="0"/>
                  </a:lnTo>
                  <a:cubicBezTo>
                    <a:pt x="573269" y="0"/>
                    <a:pt x="619678" y="46743"/>
                    <a:pt x="619678" y="103502"/>
                  </a:cubicBezTo>
                  <a:lnTo>
                    <a:pt x="619678" y="376949"/>
                  </a:lnTo>
                  <a:cubicBezTo>
                    <a:pt x="620012" y="434042"/>
                    <a:pt x="573269" y="480451"/>
                    <a:pt x="516176" y="480451"/>
                  </a:cubicBezTo>
                  <a:close/>
                </a:path>
              </a:pathLst>
            </a:custGeom>
            <a:solidFill>
              <a:srgbClr val="0078A9"/>
            </a:solidFill>
            <a:ln w="3303"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E1FF996-6201-4AFA-85BE-A771A224C98D}"/>
                </a:ext>
              </a:extLst>
            </p:cNvPr>
            <p:cNvSpPr/>
            <p:nvPr/>
          </p:nvSpPr>
          <p:spPr>
            <a:xfrm>
              <a:off x="10902639" y="5239677"/>
              <a:ext cx="561249" cy="393229"/>
            </a:xfrm>
            <a:custGeom>
              <a:avLst/>
              <a:gdLst>
                <a:gd name="connsiteX0" fmla="*/ 491135 w 561249"/>
                <a:gd name="connsiteY0" fmla="*/ 113106 h 393229"/>
                <a:gd name="connsiteX1" fmla="*/ 561250 w 561249"/>
                <a:gd name="connsiteY1" fmla="*/ 129800 h 393229"/>
                <a:gd name="connsiteX2" fmla="*/ 561250 w 561249"/>
                <a:gd name="connsiteY2" fmla="*/ 76379 h 393229"/>
                <a:gd name="connsiteX3" fmla="*/ 437047 w 561249"/>
                <a:gd name="connsiteY3" fmla="*/ 89066 h 393229"/>
                <a:gd name="connsiteX4" fmla="*/ 407332 w 561249"/>
                <a:gd name="connsiteY4" fmla="*/ 120785 h 393229"/>
                <a:gd name="connsiteX5" fmla="*/ 405996 w 561249"/>
                <a:gd name="connsiteY5" fmla="*/ 123456 h 393229"/>
                <a:gd name="connsiteX6" fmla="*/ 221695 w 561249"/>
                <a:gd name="connsiteY6" fmla="*/ 255 h 393229"/>
                <a:gd name="connsiteX7" fmla="*/ 166271 w 561249"/>
                <a:gd name="connsiteY7" fmla="*/ 255 h 393229"/>
                <a:gd name="connsiteX8" fmla="*/ 166271 w 561249"/>
                <a:gd name="connsiteY8" fmla="*/ 116445 h 393229"/>
                <a:gd name="connsiteX9" fmla="*/ 45407 w 561249"/>
                <a:gd name="connsiteY9" fmla="*/ 73374 h 393229"/>
                <a:gd name="connsiteX10" fmla="*/ 0 w 561249"/>
                <a:gd name="connsiteY10" fmla="*/ 73374 h 393229"/>
                <a:gd name="connsiteX11" fmla="*/ 0 w 561249"/>
                <a:gd name="connsiteY11" fmla="*/ 319109 h 393229"/>
                <a:gd name="connsiteX12" fmla="*/ 74455 w 561249"/>
                <a:gd name="connsiteY12" fmla="*/ 319109 h 393229"/>
                <a:gd name="connsiteX13" fmla="*/ 55758 w 561249"/>
                <a:gd name="connsiteY13" fmla="*/ 288392 h 393229"/>
                <a:gd name="connsiteX14" fmla="*/ 55758 w 561249"/>
                <a:gd name="connsiteY14" fmla="*/ 221616 h 393229"/>
                <a:gd name="connsiteX15" fmla="*/ 77126 w 561249"/>
                <a:gd name="connsiteY15" fmla="*/ 242984 h 393229"/>
                <a:gd name="connsiteX16" fmla="*/ 94821 w 561249"/>
                <a:gd name="connsiteY16" fmla="*/ 244988 h 393229"/>
                <a:gd name="connsiteX17" fmla="*/ 166271 w 561249"/>
                <a:gd name="connsiteY17" fmla="*/ 194238 h 393229"/>
                <a:gd name="connsiteX18" fmla="*/ 166271 w 561249"/>
                <a:gd name="connsiteY18" fmla="*/ 393230 h 393229"/>
                <a:gd name="connsiteX19" fmla="*/ 254749 w 561249"/>
                <a:gd name="connsiteY19" fmla="*/ 393230 h 393229"/>
                <a:gd name="connsiteX20" fmla="*/ 236052 w 561249"/>
                <a:gd name="connsiteY20" fmla="*/ 362847 h 393229"/>
                <a:gd name="connsiteX21" fmla="*/ 236052 w 561249"/>
                <a:gd name="connsiteY21" fmla="*/ 229295 h 393229"/>
                <a:gd name="connsiteX22" fmla="*/ 269774 w 561249"/>
                <a:gd name="connsiteY22" fmla="*/ 262683 h 393229"/>
                <a:gd name="connsiteX23" fmla="*/ 297820 w 561249"/>
                <a:gd name="connsiteY23" fmla="*/ 266690 h 393229"/>
                <a:gd name="connsiteX24" fmla="*/ 390972 w 561249"/>
                <a:gd name="connsiteY24" fmla="*/ 207593 h 393229"/>
                <a:gd name="connsiteX25" fmla="*/ 451737 w 561249"/>
                <a:gd name="connsiteY25" fmla="*/ 312765 h 393229"/>
                <a:gd name="connsiteX26" fmla="*/ 516844 w 561249"/>
                <a:gd name="connsiteY26" fmla="*/ 321112 h 393229"/>
                <a:gd name="connsiteX27" fmla="*/ 561250 w 561249"/>
                <a:gd name="connsiteY27" fmla="*/ 316772 h 393229"/>
                <a:gd name="connsiteX28" fmla="*/ 561250 w 561249"/>
                <a:gd name="connsiteY28" fmla="*/ 196575 h 393229"/>
                <a:gd name="connsiteX29" fmla="*/ 493472 w 561249"/>
                <a:gd name="connsiteY29" fmla="*/ 196575 h 393229"/>
                <a:gd name="connsiteX30" fmla="*/ 512169 w 561249"/>
                <a:gd name="connsiteY30" fmla="*/ 226624 h 393229"/>
                <a:gd name="connsiteX31" fmla="*/ 512169 w 561249"/>
                <a:gd name="connsiteY31" fmla="*/ 281714 h 393229"/>
                <a:gd name="connsiteX32" fmla="*/ 464091 w 561249"/>
                <a:gd name="connsiteY32" fmla="*/ 266690 h 393229"/>
                <a:gd name="connsiteX33" fmla="*/ 453073 w 561249"/>
                <a:gd name="connsiteY33" fmla="*/ 157512 h 393229"/>
                <a:gd name="connsiteX34" fmla="*/ 491135 w 561249"/>
                <a:gd name="connsiteY34" fmla="*/ 113106 h 393229"/>
                <a:gd name="connsiteX35" fmla="*/ 80799 w 561249"/>
                <a:gd name="connsiteY35" fmla="*/ 212268 h 393229"/>
                <a:gd name="connsiteX36" fmla="*/ 55424 w 561249"/>
                <a:gd name="connsiteY36" fmla="*/ 204588 h 393229"/>
                <a:gd name="connsiteX37" fmla="*/ 55424 w 561249"/>
                <a:gd name="connsiteY37" fmla="*/ 116111 h 393229"/>
                <a:gd name="connsiteX38" fmla="*/ 69113 w 561249"/>
                <a:gd name="connsiteY38" fmla="*/ 102422 h 393229"/>
                <a:gd name="connsiteX39" fmla="*/ 117859 w 561249"/>
                <a:gd name="connsiteY39" fmla="*/ 154173 h 393229"/>
                <a:gd name="connsiteX40" fmla="*/ 80799 w 561249"/>
                <a:gd name="connsiteY40" fmla="*/ 212268 h 393229"/>
                <a:gd name="connsiteX41" fmla="*/ 280792 w 561249"/>
                <a:gd name="connsiteY41" fmla="*/ 221282 h 393229"/>
                <a:gd name="connsiteX42" fmla="*/ 236052 w 561249"/>
                <a:gd name="connsiteY42" fmla="*/ 208595 h 393229"/>
                <a:gd name="connsiteX43" fmla="*/ 236052 w 561249"/>
                <a:gd name="connsiteY43" fmla="*/ 62022 h 393229"/>
                <a:gd name="connsiteX44" fmla="*/ 262762 w 561249"/>
                <a:gd name="connsiteY44" fmla="*/ 39986 h 393229"/>
                <a:gd name="connsiteX45" fmla="*/ 337217 w 561249"/>
                <a:gd name="connsiteY45" fmla="*/ 125125 h 393229"/>
                <a:gd name="connsiteX46" fmla="*/ 280792 w 561249"/>
                <a:gd name="connsiteY46" fmla="*/ 221282 h 39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61249" h="393229">
                  <a:moveTo>
                    <a:pt x="491135" y="113106"/>
                  </a:moveTo>
                  <a:cubicBezTo>
                    <a:pt x="515842" y="105760"/>
                    <a:pt x="541217" y="113440"/>
                    <a:pt x="561250" y="129800"/>
                  </a:cubicBezTo>
                  <a:lnTo>
                    <a:pt x="561250" y="76379"/>
                  </a:lnTo>
                  <a:cubicBezTo>
                    <a:pt x="496477" y="66029"/>
                    <a:pt x="462755" y="73040"/>
                    <a:pt x="437047" y="89066"/>
                  </a:cubicBezTo>
                  <a:cubicBezTo>
                    <a:pt x="416013" y="102422"/>
                    <a:pt x="407332" y="120785"/>
                    <a:pt x="407332" y="120785"/>
                  </a:cubicBezTo>
                  <a:cubicBezTo>
                    <a:pt x="407332" y="120785"/>
                    <a:pt x="406998" y="121787"/>
                    <a:pt x="405996" y="123456"/>
                  </a:cubicBezTo>
                  <a:cubicBezTo>
                    <a:pt x="402657" y="-11431"/>
                    <a:pt x="320189" y="255"/>
                    <a:pt x="221695" y="255"/>
                  </a:cubicBezTo>
                  <a:cubicBezTo>
                    <a:pt x="193983" y="255"/>
                    <a:pt x="166271" y="255"/>
                    <a:pt x="166271" y="255"/>
                  </a:cubicBezTo>
                  <a:lnTo>
                    <a:pt x="166271" y="116445"/>
                  </a:lnTo>
                  <a:cubicBezTo>
                    <a:pt x="149911" y="68366"/>
                    <a:pt x="99496" y="73374"/>
                    <a:pt x="45407" y="73374"/>
                  </a:cubicBezTo>
                  <a:cubicBezTo>
                    <a:pt x="25709" y="73374"/>
                    <a:pt x="0" y="73374"/>
                    <a:pt x="0" y="73374"/>
                  </a:cubicBezTo>
                  <a:lnTo>
                    <a:pt x="0" y="319109"/>
                  </a:lnTo>
                  <a:lnTo>
                    <a:pt x="74455" y="319109"/>
                  </a:lnTo>
                  <a:cubicBezTo>
                    <a:pt x="62101" y="314768"/>
                    <a:pt x="55758" y="304084"/>
                    <a:pt x="55758" y="288392"/>
                  </a:cubicBezTo>
                  <a:lnTo>
                    <a:pt x="55758" y="221616"/>
                  </a:lnTo>
                  <a:lnTo>
                    <a:pt x="77126" y="242984"/>
                  </a:lnTo>
                  <a:cubicBezTo>
                    <a:pt x="86475" y="245322"/>
                    <a:pt x="94821" y="244988"/>
                    <a:pt x="94821" y="244988"/>
                  </a:cubicBezTo>
                  <a:cubicBezTo>
                    <a:pt x="115522" y="243986"/>
                    <a:pt x="152249" y="235973"/>
                    <a:pt x="166271" y="194238"/>
                  </a:cubicBezTo>
                  <a:lnTo>
                    <a:pt x="166271" y="393230"/>
                  </a:lnTo>
                  <a:lnTo>
                    <a:pt x="254749" y="393230"/>
                  </a:lnTo>
                  <a:cubicBezTo>
                    <a:pt x="242396" y="388889"/>
                    <a:pt x="236052" y="378205"/>
                    <a:pt x="236052" y="362847"/>
                  </a:cubicBezTo>
                  <a:lnTo>
                    <a:pt x="236052" y="229295"/>
                  </a:lnTo>
                  <a:lnTo>
                    <a:pt x="269774" y="262683"/>
                  </a:lnTo>
                  <a:cubicBezTo>
                    <a:pt x="280458" y="266690"/>
                    <a:pt x="288471" y="267358"/>
                    <a:pt x="297820" y="266690"/>
                  </a:cubicBezTo>
                  <a:cubicBezTo>
                    <a:pt x="323528" y="265020"/>
                    <a:pt x="367934" y="254002"/>
                    <a:pt x="390972" y="207593"/>
                  </a:cubicBezTo>
                  <a:cubicBezTo>
                    <a:pt x="392975" y="251665"/>
                    <a:pt x="407332" y="295737"/>
                    <a:pt x="451737" y="312765"/>
                  </a:cubicBezTo>
                  <a:cubicBezTo>
                    <a:pt x="471436" y="320778"/>
                    <a:pt x="493806" y="323115"/>
                    <a:pt x="516844" y="321112"/>
                  </a:cubicBezTo>
                  <a:cubicBezTo>
                    <a:pt x="531868" y="320778"/>
                    <a:pt x="546559" y="319443"/>
                    <a:pt x="561250" y="316772"/>
                  </a:cubicBezTo>
                  <a:lnTo>
                    <a:pt x="561250" y="196575"/>
                  </a:lnTo>
                  <a:lnTo>
                    <a:pt x="493472" y="196575"/>
                  </a:lnTo>
                  <a:cubicBezTo>
                    <a:pt x="505826" y="200916"/>
                    <a:pt x="512169" y="211266"/>
                    <a:pt x="512169" y="226624"/>
                  </a:cubicBezTo>
                  <a:lnTo>
                    <a:pt x="512169" y="281714"/>
                  </a:lnTo>
                  <a:cubicBezTo>
                    <a:pt x="496811" y="286722"/>
                    <a:pt x="475777" y="281714"/>
                    <a:pt x="464091" y="266690"/>
                  </a:cubicBezTo>
                  <a:cubicBezTo>
                    <a:pt x="449400" y="247659"/>
                    <a:pt x="446729" y="193904"/>
                    <a:pt x="453073" y="157512"/>
                  </a:cubicBezTo>
                  <a:cubicBezTo>
                    <a:pt x="456412" y="139148"/>
                    <a:pt x="472104" y="118782"/>
                    <a:pt x="491135" y="113106"/>
                  </a:cubicBezTo>
                  <a:close/>
                  <a:moveTo>
                    <a:pt x="80799" y="212268"/>
                  </a:moveTo>
                  <a:cubicBezTo>
                    <a:pt x="62769" y="212268"/>
                    <a:pt x="55424" y="204588"/>
                    <a:pt x="55424" y="204588"/>
                  </a:cubicBezTo>
                  <a:lnTo>
                    <a:pt x="55424" y="116111"/>
                  </a:lnTo>
                  <a:cubicBezTo>
                    <a:pt x="55424" y="108431"/>
                    <a:pt x="60766" y="103423"/>
                    <a:pt x="69113" y="102422"/>
                  </a:cubicBezTo>
                  <a:cubicBezTo>
                    <a:pt x="77794" y="101420"/>
                    <a:pt x="117859" y="95076"/>
                    <a:pt x="117859" y="154173"/>
                  </a:cubicBezTo>
                  <a:cubicBezTo>
                    <a:pt x="117525" y="209597"/>
                    <a:pt x="93152" y="212268"/>
                    <a:pt x="80799" y="212268"/>
                  </a:cubicBezTo>
                  <a:close/>
                  <a:moveTo>
                    <a:pt x="280792" y="221282"/>
                  </a:moveTo>
                  <a:cubicBezTo>
                    <a:pt x="253748" y="221282"/>
                    <a:pt x="236052" y="208595"/>
                    <a:pt x="236052" y="208595"/>
                  </a:cubicBezTo>
                  <a:lnTo>
                    <a:pt x="236052" y="62022"/>
                  </a:lnTo>
                  <a:cubicBezTo>
                    <a:pt x="236052" y="49669"/>
                    <a:pt x="250409" y="41322"/>
                    <a:pt x="262762" y="39986"/>
                  </a:cubicBezTo>
                  <a:cubicBezTo>
                    <a:pt x="276117" y="38317"/>
                    <a:pt x="337217" y="28968"/>
                    <a:pt x="337217" y="125125"/>
                  </a:cubicBezTo>
                  <a:cubicBezTo>
                    <a:pt x="337217" y="211600"/>
                    <a:pt x="295816" y="221282"/>
                    <a:pt x="280792" y="221282"/>
                  </a:cubicBezTo>
                  <a:close/>
                </a:path>
              </a:pathLst>
            </a:custGeom>
            <a:solidFill>
              <a:srgbClr val="FFFFFF"/>
            </a:solidFill>
            <a:ln w="3303" cap="flat">
              <a:noFill/>
              <a:prstDash val="solid"/>
              <a:miter/>
            </a:ln>
          </p:spPr>
          <p:txBody>
            <a:bodyPr rtlCol="0" anchor="ctr"/>
            <a:lstStyle/>
            <a:p>
              <a:endParaRPr lang="en-US"/>
            </a:p>
          </p:txBody>
        </p:sp>
      </p:grpSp>
      <p:pic>
        <p:nvPicPr>
          <p:cNvPr id="10" name="7EF93E83">
            <a:hlinkClick r:id="" action="ppaction://media"/>
            <a:extLst>
              <a:ext uri="{FF2B5EF4-FFF2-40B4-BE49-F238E27FC236}">
                <a16:creationId xmlns:a16="http://schemas.microsoft.com/office/drawing/2014/main" id="{28AAC5D8-B987-428B-BA14-EC985EBA7C28}"/>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1387658" y="840285"/>
            <a:ext cx="9413507" cy="5177429"/>
          </a:xfrm>
          <a:prstGeom prst="rect">
            <a:avLst/>
          </a:prstGeom>
        </p:spPr>
      </p:pic>
      <p:sp>
        <p:nvSpPr>
          <p:cNvPr id="5" name="Rectangle 4">
            <a:extLst>
              <a:ext uri="{FF2B5EF4-FFF2-40B4-BE49-F238E27FC236}">
                <a16:creationId xmlns:a16="http://schemas.microsoft.com/office/drawing/2014/main" id="{D8FCB30C-26D9-4DC8-A650-F646FE9C5035}"/>
              </a:ext>
            </a:extLst>
          </p:cNvPr>
          <p:cNvSpPr/>
          <p:nvPr/>
        </p:nvSpPr>
        <p:spPr>
          <a:xfrm>
            <a:off x="0" y="323848"/>
            <a:ext cx="3166281" cy="93174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57094BAF-7A13-46D2-823A-D406CBE378A2}"/>
              </a:ext>
            </a:extLst>
          </p:cNvPr>
          <p:cNvSpPr/>
          <p:nvPr/>
        </p:nvSpPr>
        <p:spPr>
          <a:xfrm>
            <a:off x="3166281" y="323848"/>
            <a:ext cx="931746" cy="931746"/>
          </a:xfrm>
          <a:custGeom>
            <a:avLst/>
            <a:gdLst>
              <a:gd name="connsiteX0" fmla="*/ 0 w 931746"/>
              <a:gd name="connsiteY0" fmla="*/ 0 h 931746"/>
              <a:gd name="connsiteX1" fmla="*/ 931746 w 931746"/>
              <a:gd name="connsiteY1" fmla="*/ 0 h 931746"/>
              <a:gd name="connsiteX2" fmla="*/ 931746 w 931746"/>
              <a:gd name="connsiteY2" fmla="*/ 931746 h 931746"/>
              <a:gd name="connsiteX3" fmla="*/ 0 w 931746"/>
              <a:gd name="connsiteY3" fmla="*/ 931746 h 931746"/>
              <a:gd name="connsiteX4" fmla="*/ 0 w 931746"/>
              <a:gd name="connsiteY4" fmla="*/ 0 h 931746"/>
              <a:gd name="connsiteX0" fmla="*/ 0 w 931746"/>
              <a:gd name="connsiteY0" fmla="*/ 0 h 931746"/>
              <a:gd name="connsiteX1" fmla="*/ 931746 w 931746"/>
              <a:gd name="connsiteY1" fmla="*/ 0 h 931746"/>
              <a:gd name="connsiteX2" fmla="*/ 0 w 931746"/>
              <a:gd name="connsiteY2" fmla="*/ 931746 h 931746"/>
              <a:gd name="connsiteX3" fmla="*/ 0 w 931746"/>
              <a:gd name="connsiteY3" fmla="*/ 0 h 931746"/>
            </a:gdLst>
            <a:ahLst/>
            <a:cxnLst>
              <a:cxn ang="0">
                <a:pos x="connsiteX0" y="connsiteY0"/>
              </a:cxn>
              <a:cxn ang="0">
                <a:pos x="connsiteX1" y="connsiteY1"/>
              </a:cxn>
              <a:cxn ang="0">
                <a:pos x="connsiteX2" y="connsiteY2"/>
              </a:cxn>
              <a:cxn ang="0">
                <a:pos x="connsiteX3" y="connsiteY3"/>
              </a:cxn>
            </a:cxnLst>
            <a:rect l="l" t="t" r="r" b="b"/>
            <a:pathLst>
              <a:path w="931746" h="931746">
                <a:moveTo>
                  <a:pt x="0" y="0"/>
                </a:moveTo>
                <a:lnTo>
                  <a:pt x="931746" y="0"/>
                </a:lnTo>
                <a:lnTo>
                  <a:pt x="0" y="931746"/>
                </a:lnTo>
                <a:lnTo>
                  <a:pt x="0" y="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4"/>
          <p:cNvSpPr>
            <a:spLocks noGrp="1"/>
          </p:cNvSpPr>
          <p:nvPr>
            <p:ph type="title"/>
          </p:nvPr>
        </p:nvSpPr>
        <p:spPr>
          <a:xfrm>
            <a:off x="535793" y="323848"/>
            <a:ext cx="3385743" cy="931746"/>
          </a:xfrm>
        </p:spPr>
        <p:txBody>
          <a:bodyPr vert="horz" lIns="0" tIns="0" rIns="0" bIns="0" rtlCol="0" anchor="ctr" anchorCtr="0">
            <a:noAutofit/>
          </a:bodyPr>
          <a:lstStyle/>
          <a:p>
            <a:pPr>
              <a:lnSpc>
                <a:spcPct val="90000"/>
              </a:lnSpc>
            </a:pPr>
            <a:r>
              <a:rPr lang="en-US" sz="2600">
                <a:solidFill>
                  <a:schemeClr val="bg2"/>
                </a:solidFill>
              </a:rPr>
              <a:t>Electrostatic application</a:t>
            </a:r>
          </a:p>
        </p:txBody>
      </p:sp>
      <p:sp>
        <p:nvSpPr>
          <p:cNvPr id="4" name="Slide Number Placeholder 3"/>
          <p:cNvSpPr>
            <a:spLocks noGrp="1"/>
          </p:cNvSpPr>
          <p:nvPr>
            <p:ph type="sldNum" sz="quarter" idx="11"/>
          </p:nvPr>
        </p:nvSpPr>
        <p:spPr/>
        <p:txBody>
          <a:bodyPr/>
          <a:lstStyle/>
          <a:p>
            <a:fld id="{FD9C4343-C115-504A-8D4F-0B17318D4A48}" type="slidenum">
              <a:rPr lang="en-US" smtClean="0">
                <a:solidFill>
                  <a:schemeClr val="bg1"/>
                </a:solidFill>
              </a:rPr>
              <a:pPr/>
              <a:t>20</a:t>
            </a:fld>
            <a:endParaRPr lang="en-US">
              <a:solidFill>
                <a:schemeClr val="bg1"/>
              </a:solidFill>
            </a:endParaRPr>
          </a:p>
        </p:txBody>
      </p:sp>
    </p:spTree>
    <p:extLst>
      <p:ext uri="{BB962C8B-B14F-4D97-AF65-F5344CB8AC3E}">
        <p14:creationId xmlns:p14="http://schemas.microsoft.com/office/powerpoint/2010/main" val="1320230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1805"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DB34D62-6361-4803-83F3-3BF5A4300E38}"/>
              </a:ext>
            </a:extLst>
          </p:cNvPr>
          <p:cNvPicPr>
            <a:picLocks noChangeAspect="1"/>
          </p:cNvPicPr>
          <p:nvPr/>
        </p:nvPicPr>
        <p:blipFill rotWithShape="1">
          <a:blip r:embed="rId3"/>
          <a:srcRect l="4767" b="10973"/>
          <a:stretch/>
        </p:blipFill>
        <p:spPr>
          <a:xfrm>
            <a:off x="153418" y="1195633"/>
            <a:ext cx="10768163" cy="5662367"/>
          </a:xfrm>
          <a:prstGeom prst="rect">
            <a:avLst/>
          </a:prstGeom>
        </p:spPr>
      </p:pic>
      <p:sp>
        <p:nvSpPr>
          <p:cNvPr id="8" name="Slide Number Placeholder 7"/>
          <p:cNvSpPr>
            <a:spLocks noGrp="1"/>
          </p:cNvSpPr>
          <p:nvPr>
            <p:ph type="sldNum" sz="quarter" idx="11"/>
          </p:nvPr>
        </p:nvSpPr>
        <p:spPr>
          <a:xfrm>
            <a:off x="307975" y="6496406"/>
            <a:ext cx="455637" cy="172221"/>
          </a:xfrm>
        </p:spPr>
        <p:txBody>
          <a:bodyPr/>
          <a:lstStyle/>
          <a:p>
            <a:fld id="{FD9C4343-C115-504A-8D4F-0B17318D4A48}" type="slidenum">
              <a:rPr lang="en-US" smtClean="0"/>
              <a:pPr/>
              <a:t>21</a:t>
            </a:fld>
            <a:endParaRPr lang="en-US"/>
          </a:p>
        </p:txBody>
      </p:sp>
      <p:sp>
        <p:nvSpPr>
          <p:cNvPr id="5" name="Title 4"/>
          <p:cNvSpPr>
            <a:spLocks noGrp="1"/>
          </p:cNvSpPr>
          <p:nvPr>
            <p:ph type="title"/>
          </p:nvPr>
        </p:nvSpPr>
        <p:spPr>
          <a:xfrm>
            <a:off x="312801" y="323848"/>
            <a:ext cx="11667744" cy="859536"/>
          </a:xfrm>
        </p:spPr>
        <p:txBody>
          <a:bodyPr/>
          <a:lstStyle/>
          <a:p>
            <a:r>
              <a:rPr lang="en-US"/>
              <a:t>Coil coating production method</a:t>
            </a:r>
          </a:p>
        </p:txBody>
      </p:sp>
      <p:sp>
        <p:nvSpPr>
          <p:cNvPr id="22" name="TextBox 21">
            <a:extLst>
              <a:ext uri="{FF2B5EF4-FFF2-40B4-BE49-F238E27FC236}">
                <a16:creationId xmlns:a16="http://schemas.microsoft.com/office/drawing/2014/main" id="{F0D224BA-DDB6-4997-B024-F10ADF740BED}"/>
              </a:ext>
            </a:extLst>
          </p:cNvPr>
          <p:cNvSpPr txBox="1"/>
          <p:nvPr/>
        </p:nvSpPr>
        <p:spPr>
          <a:xfrm>
            <a:off x="7595770" y="555059"/>
            <a:ext cx="4139435" cy="2299277"/>
          </a:xfrm>
          <a:prstGeom prst="rect">
            <a:avLst/>
          </a:prstGeom>
        </p:spPr>
        <p:txBody>
          <a:bodyPr vert="horz" lIns="0" tIns="0" rIns="0" bIns="0" rtlCol="0" anchor="t">
            <a:noAutofit/>
          </a:bodyPr>
          <a:lstStyle>
            <a:lvl1pPr marL="233363" indent="-233363">
              <a:lnSpc>
                <a:spcPct val="90000"/>
              </a:lnSpc>
              <a:spcBef>
                <a:spcPts val="600"/>
              </a:spcBef>
              <a:spcAft>
                <a:spcPts val="0"/>
              </a:spcAft>
              <a:buClr>
                <a:schemeClr val="accent1"/>
              </a:buClr>
              <a:buFont typeface="Arial" panose="020B0604020202020204" pitchFamily="34" charset="0"/>
              <a:buChar char="•"/>
              <a:defRPr sz="2000" b="0">
                <a:latin typeface="+mj-lt"/>
                <a:cs typeface="Arial" panose="020B0604020202020204" pitchFamily="34" charset="0"/>
              </a:defRPr>
            </a:lvl1pPr>
            <a:lvl2pPr marL="339725" indent="-169863">
              <a:spcBef>
                <a:spcPts val="528"/>
              </a:spcBef>
              <a:spcAft>
                <a:spcPts val="0"/>
              </a:spcAft>
              <a:buClr>
                <a:schemeClr val="accent1"/>
              </a:buClr>
              <a:buFont typeface="Arial"/>
              <a:buChar char="•"/>
              <a:defRPr sz="2200" b="0" i="0">
                <a:latin typeface="Arial"/>
                <a:cs typeface="Arial"/>
              </a:defRPr>
            </a:lvl2pPr>
            <a:lvl3pPr marL="509588" indent="-169863">
              <a:spcBef>
                <a:spcPts val="528"/>
              </a:spcBef>
              <a:spcAft>
                <a:spcPts val="0"/>
              </a:spcAft>
              <a:buClr>
                <a:schemeClr val="accent1"/>
              </a:buClr>
              <a:buFont typeface="Arial"/>
              <a:buChar char="•"/>
              <a:tabLst/>
              <a:defRPr sz="2000">
                <a:cs typeface="Arial"/>
              </a:defRPr>
            </a:lvl3pPr>
            <a:lvl4pPr marL="690563" indent="-180975">
              <a:spcBef>
                <a:spcPts val="528"/>
              </a:spcBef>
              <a:spcAft>
                <a:spcPts val="0"/>
              </a:spcAft>
              <a:buClr>
                <a:schemeClr val="accent1"/>
              </a:buClr>
              <a:buFont typeface="Arial"/>
              <a:buChar char="•"/>
              <a:tabLst/>
              <a:defRPr>
                <a:cs typeface="Arial"/>
              </a:defRPr>
            </a:lvl4pPr>
            <a:lvl5pPr marL="857250" indent="-166688">
              <a:spcBef>
                <a:spcPts val="528"/>
              </a:spcBef>
              <a:spcAft>
                <a:spcPts val="0"/>
              </a:spcAft>
              <a:buClr>
                <a:schemeClr val="accent1"/>
              </a:buClr>
              <a:buFont typeface="Arial"/>
              <a:buChar char="•"/>
              <a:defRPr sz="1600">
                <a:cs typeface="Arial"/>
              </a:defRPr>
            </a:lvl5pPr>
            <a:lvl6pPr marL="800100" indent="-114300">
              <a:spcBef>
                <a:spcPts val="528"/>
              </a:spcBef>
              <a:spcAft>
                <a:spcPts val="0"/>
              </a:spcAft>
              <a:buClr>
                <a:schemeClr val="accent1"/>
              </a:buClr>
              <a:buSzPct val="100000"/>
              <a:buFont typeface="Arial"/>
              <a:buChar char="•"/>
              <a:tabLst/>
              <a:defRPr sz="1400"/>
            </a:lvl6pPr>
            <a:lvl7pPr marL="915988" indent="-115888">
              <a:spcBef>
                <a:spcPts val="528"/>
              </a:spcBef>
              <a:spcAft>
                <a:spcPts val="0"/>
              </a:spcAft>
              <a:buClr>
                <a:schemeClr val="accent1"/>
              </a:buClr>
              <a:buFont typeface="Arial"/>
              <a:buChar char="•"/>
              <a:defRPr sz="1200"/>
            </a:lvl7pPr>
            <a:lvl8pPr marL="1030288" indent="-114300">
              <a:spcBef>
                <a:spcPct val="20000"/>
              </a:spcBef>
              <a:buClr>
                <a:schemeClr val="accent1"/>
              </a:buClr>
              <a:buFont typeface="Arial"/>
              <a:buChar char="•"/>
              <a:defRPr sz="1050" baseline="0"/>
            </a:lvl8pPr>
            <a:lvl9pPr marL="1198563" indent="-106363">
              <a:spcBef>
                <a:spcPct val="20000"/>
              </a:spcBef>
              <a:buClr>
                <a:schemeClr val="accent1"/>
              </a:buClr>
              <a:buFont typeface="Arial"/>
              <a:buChar char="•"/>
              <a:defRPr sz="1050" baseline="0"/>
            </a:lvl9pPr>
          </a:lstStyle>
          <a:p>
            <a:pPr marL="228600" indent="-228600"/>
            <a:r>
              <a:rPr lang="en-US" altLang="en-US" sz="1800"/>
              <a:t>High speed, very efficient </a:t>
            </a:r>
            <a:br>
              <a:rPr lang="en-US" altLang="en-US" sz="1800"/>
            </a:br>
            <a:r>
              <a:rPr lang="en-US" altLang="en-US" sz="1800"/>
              <a:t>application process</a:t>
            </a:r>
          </a:p>
          <a:p>
            <a:pPr marL="228600" indent="-228600"/>
            <a:r>
              <a:rPr lang="en-US" altLang="en-US" sz="1800">
                <a:cs typeface="Arial"/>
              </a:rPr>
              <a:t>Best suited to light-gauge metals </a:t>
            </a:r>
            <a:endParaRPr lang="en-US" altLang="en-US" sz="1800"/>
          </a:p>
          <a:p>
            <a:pPr marL="228600" indent="-228600">
              <a:buClr>
                <a:schemeClr val="accent1"/>
              </a:buClr>
              <a:buFont typeface="Arial" panose="020B0604020202020204" pitchFamily="34" charset="0"/>
              <a:buChar char="•"/>
            </a:pPr>
            <a:r>
              <a:rPr lang="en-US" sz="1800"/>
              <a:t>A continuous process</a:t>
            </a:r>
          </a:p>
          <a:p>
            <a:pPr marL="228600" indent="-228600">
              <a:buClr>
                <a:schemeClr val="accent1"/>
              </a:buClr>
              <a:buFont typeface="Arial" panose="020B0604020202020204" pitchFamily="34" charset="0"/>
              <a:buChar char="•"/>
            </a:pPr>
            <a:r>
              <a:rPr lang="en-US" sz="1800"/>
              <a:t>High transfer efficiency</a:t>
            </a:r>
          </a:p>
          <a:p>
            <a:pPr marL="228600" indent="-228600">
              <a:buClr>
                <a:schemeClr val="accent1"/>
              </a:buClr>
              <a:buFont typeface="Arial" panose="020B0604020202020204" pitchFamily="34" charset="0"/>
              <a:buChar char="•"/>
            </a:pPr>
            <a:r>
              <a:rPr lang="en-US" sz="1800"/>
              <a:t>Consistent quality</a:t>
            </a:r>
          </a:p>
          <a:p>
            <a:pPr marL="233045" indent="-233045"/>
            <a:endParaRPr lang="en-US" altLang="en-US" sz="1800"/>
          </a:p>
        </p:txBody>
      </p:sp>
      <p:sp>
        <p:nvSpPr>
          <p:cNvPr id="9" name="TextBox 8">
            <a:extLst>
              <a:ext uri="{FF2B5EF4-FFF2-40B4-BE49-F238E27FC236}">
                <a16:creationId xmlns:a16="http://schemas.microsoft.com/office/drawing/2014/main" id="{C5D2CDC7-9F63-4F2B-BC5F-C38A347A75AA}"/>
              </a:ext>
            </a:extLst>
          </p:cNvPr>
          <p:cNvSpPr txBox="1"/>
          <p:nvPr/>
        </p:nvSpPr>
        <p:spPr>
          <a:xfrm>
            <a:off x="631868" y="1665122"/>
            <a:ext cx="2105423" cy="336664"/>
          </a:xfrm>
          <a:prstGeom prst="rect">
            <a:avLst/>
          </a:prstGeom>
          <a:noFill/>
        </p:spPr>
        <p:txBody>
          <a:bodyPr wrap="square" rtlCol="0">
            <a:noAutofit/>
          </a:bodyPr>
          <a:lstStyle/>
          <a:p>
            <a:pPr>
              <a:lnSpc>
                <a:spcPct val="85000"/>
              </a:lnSpc>
              <a:buClr>
                <a:schemeClr val="accent1"/>
              </a:buClr>
            </a:pPr>
            <a:r>
              <a:rPr lang="en-US" sz="1400"/>
              <a:t>Entrance accumulator</a:t>
            </a:r>
          </a:p>
        </p:txBody>
      </p:sp>
      <p:sp>
        <p:nvSpPr>
          <p:cNvPr id="11" name="TextBox 10">
            <a:extLst>
              <a:ext uri="{FF2B5EF4-FFF2-40B4-BE49-F238E27FC236}">
                <a16:creationId xmlns:a16="http://schemas.microsoft.com/office/drawing/2014/main" id="{DD6EC933-2BAD-44CE-B2F2-E5A27AC5CC79}"/>
              </a:ext>
            </a:extLst>
          </p:cNvPr>
          <p:cNvSpPr txBox="1"/>
          <p:nvPr/>
        </p:nvSpPr>
        <p:spPr>
          <a:xfrm>
            <a:off x="3428297" y="1823827"/>
            <a:ext cx="1361736" cy="336664"/>
          </a:xfrm>
          <a:prstGeom prst="rect">
            <a:avLst/>
          </a:prstGeom>
          <a:noFill/>
        </p:spPr>
        <p:txBody>
          <a:bodyPr wrap="square" rtlCol="0">
            <a:noAutofit/>
          </a:bodyPr>
          <a:lstStyle/>
          <a:p>
            <a:pPr>
              <a:lnSpc>
                <a:spcPct val="85000"/>
              </a:lnSpc>
              <a:buClr>
                <a:schemeClr val="accent1"/>
              </a:buClr>
            </a:pPr>
            <a:r>
              <a:rPr lang="en-US" sz="1400"/>
              <a:t>Prime coater</a:t>
            </a:r>
          </a:p>
        </p:txBody>
      </p:sp>
      <p:sp>
        <p:nvSpPr>
          <p:cNvPr id="12" name="TextBox 11">
            <a:extLst>
              <a:ext uri="{FF2B5EF4-FFF2-40B4-BE49-F238E27FC236}">
                <a16:creationId xmlns:a16="http://schemas.microsoft.com/office/drawing/2014/main" id="{2BB22B7E-B5DC-4FBC-82E4-0FBBBA207470}"/>
              </a:ext>
            </a:extLst>
          </p:cNvPr>
          <p:cNvSpPr txBox="1"/>
          <p:nvPr/>
        </p:nvSpPr>
        <p:spPr>
          <a:xfrm>
            <a:off x="4470458" y="1362300"/>
            <a:ext cx="1293974" cy="336664"/>
          </a:xfrm>
          <a:prstGeom prst="rect">
            <a:avLst/>
          </a:prstGeom>
          <a:noFill/>
        </p:spPr>
        <p:txBody>
          <a:bodyPr wrap="square" rtlCol="0">
            <a:noAutofit/>
          </a:bodyPr>
          <a:lstStyle/>
          <a:p>
            <a:pPr>
              <a:lnSpc>
                <a:spcPct val="85000"/>
              </a:lnSpc>
              <a:buClr>
                <a:schemeClr val="accent1"/>
              </a:buClr>
            </a:pPr>
            <a:r>
              <a:rPr lang="en-US" sz="1400"/>
              <a:t>Curing oven</a:t>
            </a:r>
          </a:p>
        </p:txBody>
      </p:sp>
      <p:sp>
        <p:nvSpPr>
          <p:cNvPr id="13" name="TextBox 12">
            <a:extLst>
              <a:ext uri="{FF2B5EF4-FFF2-40B4-BE49-F238E27FC236}">
                <a16:creationId xmlns:a16="http://schemas.microsoft.com/office/drawing/2014/main" id="{D53B6204-78E4-4A59-8030-F383D6651B5F}"/>
              </a:ext>
            </a:extLst>
          </p:cNvPr>
          <p:cNvSpPr txBox="1"/>
          <p:nvPr/>
        </p:nvSpPr>
        <p:spPr>
          <a:xfrm>
            <a:off x="3902977" y="2628087"/>
            <a:ext cx="584272" cy="336664"/>
          </a:xfrm>
          <a:prstGeom prst="rect">
            <a:avLst/>
          </a:prstGeom>
          <a:noFill/>
        </p:spPr>
        <p:txBody>
          <a:bodyPr wrap="square" rtlCol="0">
            <a:noAutofit/>
          </a:bodyPr>
          <a:lstStyle/>
          <a:p>
            <a:pPr>
              <a:lnSpc>
                <a:spcPct val="85000"/>
              </a:lnSpc>
              <a:buClr>
                <a:schemeClr val="accent1"/>
              </a:buClr>
            </a:pPr>
            <a:r>
              <a:rPr lang="en-US" sz="1400"/>
              <a:t>Dry</a:t>
            </a:r>
          </a:p>
        </p:txBody>
      </p:sp>
      <p:sp>
        <p:nvSpPr>
          <p:cNvPr id="14" name="TextBox 13">
            <a:extLst>
              <a:ext uri="{FF2B5EF4-FFF2-40B4-BE49-F238E27FC236}">
                <a16:creationId xmlns:a16="http://schemas.microsoft.com/office/drawing/2014/main" id="{6B186642-D6C1-497C-B537-C75245A46014}"/>
              </a:ext>
            </a:extLst>
          </p:cNvPr>
          <p:cNvSpPr txBox="1"/>
          <p:nvPr/>
        </p:nvSpPr>
        <p:spPr>
          <a:xfrm>
            <a:off x="1627583" y="4104908"/>
            <a:ext cx="983063" cy="336664"/>
          </a:xfrm>
          <a:prstGeom prst="rect">
            <a:avLst/>
          </a:prstGeom>
          <a:noFill/>
        </p:spPr>
        <p:txBody>
          <a:bodyPr wrap="square" rtlCol="0">
            <a:noAutofit/>
          </a:bodyPr>
          <a:lstStyle/>
          <a:p>
            <a:pPr>
              <a:lnSpc>
                <a:spcPct val="85000"/>
              </a:lnSpc>
              <a:buClr>
                <a:schemeClr val="accent1"/>
              </a:buClr>
            </a:pPr>
            <a:r>
              <a:rPr lang="en-US" sz="1400" err="1"/>
              <a:t>Uncoiler</a:t>
            </a:r>
            <a:endParaRPr lang="en-US" sz="1400"/>
          </a:p>
        </p:txBody>
      </p:sp>
      <p:sp>
        <p:nvSpPr>
          <p:cNvPr id="16" name="TextBox 15">
            <a:extLst>
              <a:ext uri="{FF2B5EF4-FFF2-40B4-BE49-F238E27FC236}">
                <a16:creationId xmlns:a16="http://schemas.microsoft.com/office/drawing/2014/main" id="{87DAC58A-64F5-4C02-B1F7-2815ADAC0D73}"/>
              </a:ext>
            </a:extLst>
          </p:cNvPr>
          <p:cNvSpPr txBox="1"/>
          <p:nvPr/>
        </p:nvSpPr>
        <p:spPr>
          <a:xfrm>
            <a:off x="5333049" y="4637897"/>
            <a:ext cx="758285" cy="336664"/>
          </a:xfrm>
          <a:prstGeom prst="rect">
            <a:avLst/>
          </a:prstGeom>
          <a:noFill/>
        </p:spPr>
        <p:txBody>
          <a:bodyPr wrap="square" rtlCol="0">
            <a:noAutofit/>
          </a:bodyPr>
          <a:lstStyle/>
          <a:p>
            <a:pPr>
              <a:lnSpc>
                <a:spcPct val="85000"/>
              </a:lnSpc>
              <a:buClr>
                <a:schemeClr val="accent1"/>
              </a:buClr>
            </a:pPr>
            <a:r>
              <a:rPr lang="en-US" sz="1400"/>
              <a:t>Top coater</a:t>
            </a:r>
          </a:p>
        </p:txBody>
      </p:sp>
      <p:sp>
        <p:nvSpPr>
          <p:cNvPr id="18" name="TextBox 17">
            <a:extLst>
              <a:ext uri="{FF2B5EF4-FFF2-40B4-BE49-F238E27FC236}">
                <a16:creationId xmlns:a16="http://schemas.microsoft.com/office/drawing/2014/main" id="{C0A809DC-E36E-47AD-89B2-77AA18F849B3}"/>
              </a:ext>
            </a:extLst>
          </p:cNvPr>
          <p:cNvSpPr txBox="1"/>
          <p:nvPr/>
        </p:nvSpPr>
        <p:spPr>
          <a:xfrm>
            <a:off x="6221192" y="5790526"/>
            <a:ext cx="847507" cy="436236"/>
          </a:xfrm>
          <a:prstGeom prst="rect">
            <a:avLst/>
          </a:prstGeom>
          <a:noFill/>
        </p:spPr>
        <p:txBody>
          <a:bodyPr wrap="square" rtlCol="0">
            <a:noAutofit/>
          </a:bodyPr>
          <a:lstStyle/>
          <a:p>
            <a:pPr>
              <a:lnSpc>
                <a:spcPct val="85000"/>
              </a:lnSpc>
              <a:buClr>
                <a:schemeClr val="accent1"/>
              </a:buClr>
            </a:pPr>
            <a:r>
              <a:rPr lang="en-US" sz="1400"/>
              <a:t>Water quench</a:t>
            </a:r>
          </a:p>
        </p:txBody>
      </p:sp>
      <p:sp>
        <p:nvSpPr>
          <p:cNvPr id="19" name="TextBox 18">
            <a:extLst>
              <a:ext uri="{FF2B5EF4-FFF2-40B4-BE49-F238E27FC236}">
                <a16:creationId xmlns:a16="http://schemas.microsoft.com/office/drawing/2014/main" id="{C30298A1-CE2B-43B1-982A-43E08C9A1595}"/>
              </a:ext>
            </a:extLst>
          </p:cNvPr>
          <p:cNvSpPr txBox="1"/>
          <p:nvPr/>
        </p:nvSpPr>
        <p:spPr>
          <a:xfrm>
            <a:off x="10598978" y="3695952"/>
            <a:ext cx="1040176" cy="336664"/>
          </a:xfrm>
          <a:prstGeom prst="rect">
            <a:avLst/>
          </a:prstGeom>
          <a:noFill/>
        </p:spPr>
        <p:txBody>
          <a:bodyPr wrap="square" rtlCol="0">
            <a:noAutofit/>
          </a:bodyPr>
          <a:lstStyle/>
          <a:p>
            <a:pPr>
              <a:lnSpc>
                <a:spcPct val="85000"/>
              </a:lnSpc>
              <a:buClr>
                <a:schemeClr val="accent1"/>
              </a:buClr>
            </a:pPr>
            <a:r>
              <a:rPr lang="en-US" sz="1400" err="1"/>
              <a:t>Recoiler</a:t>
            </a:r>
            <a:endParaRPr lang="en-US" sz="1400"/>
          </a:p>
        </p:txBody>
      </p:sp>
      <p:sp>
        <p:nvSpPr>
          <p:cNvPr id="20" name="TextBox 19">
            <a:extLst>
              <a:ext uri="{FF2B5EF4-FFF2-40B4-BE49-F238E27FC236}">
                <a16:creationId xmlns:a16="http://schemas.microsoft.com/office/drawing/2014/main" id="{DB01992E-18CF-4957-96F1-338AFCB5CD61}"/>
              </a:ext>
            </a:extLst>
          </p:cNvPr>
          <p:cNvSpPr txBox="1"/>
          <p:nvPr/>
        </p:nvSpPr>
        <p:spPr>
          <a:xfrm>
            <a:off x="9026118" y="5518047"/>
            <a:ext cx="847507" cy="336664"/>
          </a:xfrm>
          <a:prstGeom prst="rect">
            <a:avLst/>
          </a:prstGeom>
          <a:noFill/>
        </p:spPr>
        <p:txBody>
          <a:bodyPr wrap="square" rtlCol="0">
            <a:noAutofit/>
          </a:bodyPr>
          <a:lstStyle/>
          <a:p>
            <a:pPr>
              <a:lnSpc>
                <a:spcPct val="85000"/>
              </a:lnSpc>
              <a:buClr>
                <a:schemeClr val="accent1"/>
              </a:buClr>
            </a:pPr>
            <a:r>
              <a:rPr lang="en-US" sz="1400"/>
              <a:t>Cut-off</a:t>
            </a:r>
          </a:p>
        </p:txBody>
      </p:sp>
      <p:sp>
        <p:nvSpPr>
          <p:cNvPr id="25" name="TextBox 24">
            <a:extLst>
              <a:ext uri="{FF2B5EF4-FFF2-40B4-BE49-F238E27FC236}">
                <a16:creationId xmlns:a16="http://schemas.microsoft.com/office/drawing/2014/main" id="{8F637627-EC23-4ADC-8D80-42AFA463F969}"/>
              </a:ext>
            </a:extLst>
          </p:cNvPr>
          <p:cNvSpPr txBox="1"/>
          <p:nvPr/>
        </p:nvSpPr>
        <p:spPr>
          <a:xfrm>
            <a:off x="3437594" y="5356237"/>
            <a:ext cx="1972345" cy="572328"/>
          </a:xfrm>
          <a:prstGeom prst="rect">
            <a:avLst/>
          </a:prstGeom>
          <a:noFill/>
        </p:spPr>
        <p:txBody>
          <a:bodyPr wrap="square" rtlCol="0">
            <a:noAutofit/>
          </a:bodyPr>
          <a:lstStyle/>
          <a:p>
            <a:pPr>
              <a:lnSpc>
                <a:spcPct val="85000"/>
              </a:lnSpc>
              <a:buClr>
                <a:schemeClr val="accent1"/>
              </a:buClr>
            </a:pPr>
            <a:r>
              <a:rPr lang="en-US" sz="1400"/>
              <a:t>Pretreatment (cleaning and conversion coating)</a:t>
            </a:r>
          </a:p>
        </p:txBody>
      </p:sp>
      <p:sp>
        <p:nvSpPr>
          <p:cNvPr id="33" name="TextBox 32">
            <a:extLst>
              <a:ext uri="{FF2B5EF4-FFF2-40B4-BE49-F238E27FC236}">
                <a16:creationId xmlns:a16="http://schemas.microsoft.com/office/drawing/2014/main" id="{61E9512B-6E79-4ED4-9094-299F79CB6EB7}"/>
              </a:ext>
            </a:extLst>
          </p:cNvPr>
          <p:cNvSpPr txBox="1"/>
          <p:nvPr/>
        </p:nvSpPr>
        <p:spPr>
          <a:xfrm>
            <a:off x="5770191" y="5153001"/>
            <a:ext cx="758285" cy="336664"/>
          </a:xfrm>
          <a:prstGeom prst="rect">
            <a:avLst/>
          </a:prstGeom>
          <a:noFill/>
        </p:spPr>
        <p:txBody>
          <a:bodyPr wrap="square" rtlCol="0">
            <a:noAutofit/>
          </a:bodyPr>
          <a:lstStyle/>
          <a:p>
            <a:pPr>
              <a:lnSpc>
                <a:spcPct val="85000"/>
              </a:lnSpc>
              <a:buClr>
                <a:schemeClr val="accent1"/>
              </a:buClr>
            </a:pPr>
            <a:r>
              <a:rPr lang="en-US" sz="1400"/>
              <a:t>Finish oven</a:t>
            </a:r>
          </a:p>
        </p:txBody>
      </p:sp>
      <p:cxnSp>
        <p:nvCxnSpPr>
          <p:cNvPr id="38" name="Straight Arrow Connector 37">
            <a:extLst>
              <a:ext uri="{FF2B5EF4-FFF2-40B4-BE49-F238E27FC236}">
                <a16:creationId xmlns:a16="http://schemas.microsoft.com/office/drawing/2014/main" id="{364DC598-0E89-4355-A0E6-ECA45AD432DD}"/>
              </a:ext>
            </a:extLst>
          </p:cNvPr>
          <p:cNvCxnSpPr>
            <a:cxnSpLocks/>
          </p:cNvCxnSpPr>
          <p:nvPr/>
        </p:nvCxnSpPr>
        <p:spPr>
          <a:xfrm flipV="1">
            <a:off x="9408282" y="4756341"/>
            <a:ext cx="0" cy="733325"/>
          </a:xfrm>
          <a:prstGeom prst="straightConnector1">
            <a:avLst/>
          </a:prstGeom>
          <a:noFill/>
          <a:ln w="6350">
            <a:solidFill>
              <a:schemeClr val="tx2"/>
            </a:solidFill>
            <a:tailEnd type="oval"/>
          </a:ln>
          <a:effectLst/>
        </p:spPr>
        <p:style>
          <a:lnRef idx="1">
            <a:schemeClr val="accent1"/>
          </a:lnRef>
          <a:fillRef idx="3">
            <a:schemeClr val="accent1"/>
          </a:fillRef>
          <a:effectRef idx="2">
            <a:schemeClr val="accent1"/>
          </a:effectRef>
          <a:fontRef idx="minor">
            <a:schemeClr val="lt1"/>
          </a:fontRef>
        </p:style>
      </p:cxnSp>
      <p:sp>
        <p:nvSpPr>
          <p:cNvPr id="2" name="Freeform: Shape 1">
            <a:extLst>
              <a:ext uri="{FF2B5EF4-FFF2-40B4-BE49-F238E27FC236}">
                <a16:creationId xmlns:a16="http://schemas.microsoft.com/office/drawing/2014/main" id="{5ACB79FD-CF84-4CB4-9891-B65DCDDA9803}"/>
              </a:ext>
            </a:extLst>
          </p:cNvPr>
          <p:cNvSpPr/>
          <p:nvPr/>
        </p:nvSpPr>
        <p:spPr>
          <a:xfrm>
            <a:off x="9867900" y="3857625"/>
            <a:ext cx="693338" cy="342900"/>
          </a:xfrm>
          <a:custGeom>
            <a:avLst/>
            <a:gdLst>
              <a:gd name="connsiteX0" fmla="*/ 819150 w 819150"/>
              <a:gd name="connsiteY0" fmla="*/ 0 h 342900"/>
              <a:gd name="connsiteX1" fmla="*/ 0 w 819150"/>
              <a:gd name="connsiteY1" fmla="*/ 0 h 342900"/>
              <a:gd name="connsiteX2" fmla="*/ 0 w 819150"/>
              <a:gd name="connsiteY2" fmla="*/ 342900 h 342900"/>
            </a:gdLst>
            <a:ahLst/>
            <a:cxnLst>
              <a:cxn ang="0">
                <a:pos x="connsiteX0" y="connsiteY0"/>
              </a:cxn>
              <a:cxn ang="0">
                <a:pos x="connsiteX1" y="connsiteY1"/>
              </a:cxn>
              <a:cxn ang="0">
                <a:pos x="connsiteX2" y="connsiteY2"/>
              </a:cxn>
            </a:cxnLst>
            <a:rect l="l" t="t" r="r" b="b"/>
            <a:pathLst>
              <a:path w="819150" h="342900">
                <a:moveTo>
                  <a:pt x="819150" y="0"/>
                </a:moveTo>
                <a:lnTo>
                  <a:pt x="0" y="0"/>
                </a:lnTo>
                <a:lnTo>
                  <a:pt x="0" y="342900"/>
                </a:lnTo>
              </a:path>
            </a:pathLst>
          </a:custGeom>
          <a:noFill/>
          <a:ln w="6350">
            <a:solidFill>
              <a:schemeClr val="tx2"/>
            </a:solidFil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1" name="Straight Arrow Connector 30">
            <a:extLst>
              <a:ext uri="{FF2B5EF4-FFF2-40B4-BE49-F238E27FC236}">
                <a16:creationId xmlns:a16="http://schemas.microsoft.com/office/drawing/2014/main" id="{0B1B5F9F-8F8C-4F41-A322-D049C769B775}"/>
              </a:ext>
            </a:extLst>
          </p:cNvPr>
          <p:cNvCxnSpPr>
            <a:cxnSpLocks/>
          </p:cNvCxnSpPr>
          <p:nvPr/>
        </p:nvCxnSpPr>
        <p:spPr>
          <a:xfrm flipV="1">
            <a:off x="6512682" y="4104908"/>
            <a:ext cx="0" cy="1617992"/>
          </a:xfrm>
          <a:prstGeom prst="straightConnector1">
            <a:avLst/>
          </a:prstGeom>
          <a:noFill/>
          <a:ln w="6350">
            <a:solidFill>
              <a:schemeClr val="tx2"/>
            </a:solidFill>
            <a:tailEnd type="oval"/>
          </a:ln>
          <a:effectLst/>
        </p:spPr>
        <p:style>
          <a:lnRef idx="1">
            <a:schemeClr val="accent1"/>
          </a:lnRef>
          <a:fillRef idx="3">
            <a:schemeClr val="accent1"/>
          </a:fillRef>
          <a:effectRef idx="2">
            <a:schemeClr val="accent1"/>
          </a:effectRef>
          <a:fontRef idx="minor">
            <a:schemeClr val="lt1"/>
          </a:fontRef>
        </p:style>
      </p:cxnSp>
      <p:cxnSp>
        <p:nvCxnSpPr>
          <p:cNvPr id="35" name="Straight Arrow Connector 34">
            <a:extLst>
              <a:ext uri="{FF2B5EF4-FFF2-40B4-BE49-F238E27FC236}">
                <a16:creationId xmlns:a16="http://schemas.microsoft.com/office/drawing/2014/main" id="{E8F018A6-1996-4816-BA13-F26EC0343267}"/>
              </a:ext>
            </a:extLst>
          </p:cNvPr>
          <p:cNvCxnSpPr>
            <a:cxnSpLocks/>
          </p:cNvCxnSpPr>
          <p:nvPr/>
        </p:nvCxnSpPr>
        <p:spPr>
          <a:xfrm flipV="1">
            <a:off x="6146673" y="3695952"/>
            <a:ext cx="0" cy="1457049"/>
          </a:xfrm>
          <a:prstGeom prst="straightConnector1">
            <a:avLst/>
          </a:prstGeom>
          <a:noFill/>
          <a:ln w="6350">
            <a:solidFill>
              <a:schemeClr val="tx2"/>
            </a:solidFill>
            <a:tailEnd type="oval"/>
          </a:ln>
          <a:effectLst/>
        </p:spPr>
        <p:style>
          <a:lnRef idx="1">
            <a:schemeClr val="accent1"/>
          </a:lnRef>
          <a:fillRef idx="3">
            <a:schemeClr val="accent1"/>
          </a:fillRef>
          <a:effectRef idx="2">
            <a:schemeClr val="accent1"/>
          </a:effectRef>
          <a:fontRef idx="minor">
            <a:schemeClr val="lt1"/>
          </a:fontRef>
        </p:style>
      </p:cxnSp>
      <p:cxnSp>
        <p:nvCxnSpPr>
          <p:cNvPr id="37" name="Straight Arrow Connector 36">
            <a:extLst>
              <a:ext uri="{FF2B5EF4-FFF2-40B4-BE49-F238E27FC236}">
                <a16:creationId xmlns:a16="http://schemas.microsoft.com/office/drawing/2014/main" id="{E561163E-0347-4C3C-B7CE-4314C3401E42}"/>
              </a:ext>
            </a:extLst>
          </p:cNvPr>
          <p:cNvCxnSpPr>
            <a:cxnSpLocks/>
          </p:cNvCxnSpPr>
          <p:nvPr/>
        </p:nvCxnSpPr>
        <p:spPr>
          <a:xfrm flipV="1">
            <a:off x="5792289" y="3695952"/>
            <a:ext cx="0" cy="1137481"/>
          </a:xfrm>
          <a:prstGeom prst="straightConnector1">
            <a:avLst/>
          </a:prstGeom>
          <a:noFill/>
          <a:ln w="6350">
            <a:solidFill>
              <a:schemeClr val="tx2"/>
            </a:solidFill>
            <a:tailEnd type="oval"/>
          </a:ln>
          <a:effectLst/>
        </p:spPr>
        <p:style>
          <a:lnRef idx="1">
            <a:schemeClr val="accent1"/>
          </a:lnRef>
          <a:fillRef idx="3">
            <a:schemeClr val="accent1"/>
          </a:fillRef>
          <a:effectRef idx="2">
            <a:schemeClr val="accent1"/>
          </a:effectRef>
          <a:fontRef idx="minor">
            <a:schemeClr val="lt1"/>
          </a:fontRef>
        </p:style>
      </p:cxnSp>
      <p:cxnSp>
        <p:nvCxnSpPr>
          <p:cNvPr id="39" name="Straight Arrow Connector 38">
            <a:extLst>
              <a:ext uri="{FF2B5EF4-FFF2-40B4-BE49-F238E27FC236}">
                <a16:creationId xmlns:a16="http://schemas.microsoft.com/office/drawing/2014/main" id="{F9F4B113-FD4C-4858-96B7-0382F6B86A5B}"/>
              </a:ext>
            </a:extLst>
          </p:cNvPr>
          <p:cNvCxnSpPr>
            <a:cxnSpLocks/>
          </p:cNvCxnSpPr>
          <p:nvPr/>
        </p:nvCxnSpPr>
        <p:spPr>
          <a:xfrm flipV="1">
            <a:off x="4423766" y="3695952"/>
            <a:ext cx="0" cy="1642055"/>
          </a:xfrm>
          <a:prstGeom prst="straightConnector1">
            <a:avLst/>
          </a:prstGeom>
          <a:noFill/>
          <a:ln w="6350">
            <a:solidFill>
              <a:schemeClr val="tx2"/>
            </a:solidFill>
            <a:tailEnd type="oval"/>
          </a:ln>
          <a:effectLst/>
        </p:spPr>
        <p:style>
          <a:lnRef idx="1">
            <a:schemeClr val="accent1"/>
          </a:lnRef>
          <a:fillRef idx="3">
            <a:schemeClr val="accent1"/>
          </a:fillRef>
          <a:effectRef idx="2">
            <a:schemeClr val="accent1"/>
          </a:effectRef>
          <a:fontRef idx="minor">
            <a:schemeClr val="lt1"/>
          </a:fontRef>
        </p:style>
      </p:cxnSp>
      <p:sp>
        <p:nvSpPr>
          <p:cNvPr id="41" name="Freeform: Shape 40">
            <a:extLst>
              <a:ext uri="{FF2B5EF4-FFF2-40B4-BE49-F238E27FC236}">
                <a16:creationId xmlns:a16="http://schemas.microsoft.com/office/drawing/2014/main" id="{D98002B2-C5D3-4E76-A550-3FC613860EFC}"/>
              </a:ext>
            </a:extLst>
          </p:cNvPr>
          <p:cNvSpPr/>
          <p:nvPr/>
        </p:nvSpPr>
        <p:spPr>
          <a:xfrm flipH="1">
            <a:off x="4344642" y="2749845"/>
            <a:ext cx="693338" cy="596582"/>
          </a:xfrm>
          <a:custGeom>
            <a:avLst/>
            <a:gdLst>
              <a:gd name="connsiteX0" fmla="*/ 819150 w 819150"/>
              <a:gd name="connsiteY0" fmla="*/ 0 h 342900"/>
              <a:gd name="connsiteX1" fmla="*/ 0 w 819150"/>
              <a:gd name="connsiteY1" fmla="*/ 0 h 342900"/>
              <a:gd name="connsiteX2" fmla="*/ 0 w 819150"/>
              <a:gd name="connsiteY2" fmla="*/ 342900 h 342900"/>
            </a:gdLst>
            <a:ahLst/>
            <a:cxnLst>
              <a:cxn ang="0">
                <a:pos x="connsiteX0" y="connsiteY0"/>
              </a:cxn>
              <a:cxn ang="0">
                <a:pos x="connsiteX1" y="connsiteY1"/>
              </a:cxn>
              <a:cxn ang="0">
                <a:pos x="connsiteX2" y="connsiteY2"/>
              </a:cxn>
            </a:cxnLst>
            <a:rect l="l" t="t" r="r" b="b"/>
            <a:pathLst>
              <a:path w="819150" h="342900">
                <a:moveTo>
                  <a:pt x="819150" y="0"/>
                </a:moveTo>
                <a:lnTo>
                  <a:pt x="0" y="0"/>
                </a:lnTo>
                <a:lnTo>
                  <a:pt x="0" y="342900"/>
                </a:lnTo>
              </a:path>
            </a:pathLst>
          </a:custGeom>
          <a:noFill/>
          <a:ln w="6350">
            <a:solidFill>
              <a:schemeClr val="tx2"/>
            </a:solidFil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Freeform: Shape 41">
            <a:extLst>
              <a:ext uri="{FF2B5EF4-FFF2-40B4-BE49-F238E27FC236}">
                <a16:creationId xmlns:a16="http://schemas.microsoft.com/office/drawing/2014/main" id="{BF59535C-32C3-4999-B4D4-51E9D1A14D05}"/>
              </a:ext>
            </a:extLst>
          </p:cNvPr>
          <p:cNvSpPr/>
          <p:nvPr/>
        </p:nvSpPr>
        <p:spPr>
          <a:xfrm flipH="1">
            <a:off x="4639710" y="1951420"/>
            <a:ext cx="560939" cy="448900"/>
          </a:xfrm>
          <a:custGeom>
            <a:avLst/>
            <a:gdLst>
              <a:gd name="connsiteX0" fmla="*/ 819150 w 819150"/>
              <a:gd name="connsiteY0" fmla="*/ 0 h 342900"/>
              <a:gd name="connsiteX1" fmla="*/ 0 w 819150"/>
              <a:gd name="connsiteY1" fmla="*/ 0 h 342900"/>
              <a:gd name="connsiteX2" fmla="*/ 0 w 819150"/>
              <a:gd name="connsiteY2" fmla="*/ 342900 h 342900"/>
            </a:gdLst>
            <a:ahLst/>
            <a:cxnLst>
              <a:cxn ang="0">
                <a:pos x="connsiteX0" y="connsiteY0"/>
              </a:cxn>
              <a:cxn ang="0">
                <a:pos x="connsiteX1" y="connsiteY1"/>
              </a:cxn>
              <a:cxn ang="0">
                <a:pos x="connsiteX2" y="connsiteY2"/>
              </a:cxn>
            </a:cxnLst>
            <a:rect l="l" t="t" r="r" b="b"/>
            <a:pathLst>
              <a:path w="819150" h="342900">
                <a:moveTo>
                  <a:pt x="819150" y="0"/>
                </a:moveTo>
                <a:lnTo>
                  <a:pt x="0" y="0"/>
                </a:lnTo>
                <a:lnTo>
                  <a:pt x="0" y="342900"/>
                </a:lnTo>
              </a:path>
            </a:pathLst>
          </a:custGeom>
          <a:noFill/>
          <a:ln w="6350">
            <a:solidFill>
              <a:schemeClr val="tx2"/>
            </a:solidFil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Freeform: Shape 43">
            <a:extLst>
              <a:ext uri="{FF2B5EF4-FFF2-40B4-BE49-F238E27FC236}">
                <a16:creationId xmlns:a16="http://schemas.microsoft.com/office/drawing/2014/main" id="{B9E3F1BD-23B5-42B6-9909-D60106B8B65F}"/>
              </a:ext>
            </a:extLst>
          </p:cNvPr>
          <p:cNvSpPr/>
          <p:nvPr/>
        </p:nvSpPr>
        <p:spPr>
          <a:xfrm flipH="1">
            <a:off x="5660252" y="1492817"/>
            <a:ext cx="560939" cy="632511"/>
          </a:xfrm>
          <a:custGeom>
            <a:avLst/>
            <a:gdLst>
              <a:gd name="connsiteX0" fmla="*/ 819150 w 819150"/>
              <a:gd name="connsiteY0" fmla="*/ 0 h 342900"/>
              <a:gd name="connsiteX1" fmla="*/ 0 w 819150"/>
              <a:gd name="connsiteY1" fmla="*/ 0 h 342900"/>
              <a:gd name="connsiteX2" fmla="*/ 0 w 819150"/>
              <a:gd name="connsiteY2" fmla="*/ 342900 h 342900"/>
            </a:gdLst>
            <a:ahLst/>
            <a:cxnLst>
              <a:cxn ang="0">
                <a:pos x="connsiteX0" y="connsiteY0"/>
              </a:cxn>
              <a:cxn ang="0">
                <a:pos x="connsiteX1" y="connsiteY1"/>
              </a:cxn>
              <a:cxn ang="0">
                <a:pos x="connsiteX2" y="connsiteY2"/>
              </a:cxn>
            </a:cxnLst>
            <a:rect l="l" t="t" r="r" b="b"/>
            <a:pathLst>
              <a:path w="819150" h="342900">
                <a:moveTo>
                  <a:pt x="819150" y="0"/>
                </a:moveTo>
                <a:lnTo>
                  <a:pt x="0" y="0"/>
                </a:lnTo>
                <a:lnTo>
                  <a:pt x="0" y="342900"/>
                </a:lnTo>
              </a:path>
            </a:pathLst>
          </a:custGeom>
          <a:noFill/>
          <a:ln w="6350">
            <a:solidFill>
              <a:schemeClr val="tx2"/>
            </a:solidFil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45" name="Straight Arrow Connector 44">
            <a:extLst>
              <a:ext uri="{FF2B5EF4-FFF2-40B4-BE49-F238E27FC236}">
                <a16:creationId xmlns:a16="http://schemas.microsoft.com/office/drawing/2014/main" id="{024B1C79-4E7A-4BD9-85CD-630626F6EF47}"/>
              </a:ext>
            </a:extLst>
          </p:cNvPr>
          <p:cNvCxnSpPr>
            <a:cxnSpLocks/>
          </p:cNvCxnSpPr>
          <p:nvPr/>
        </p:nvCxnSpPr>
        <p:spPr>
          <a:xfrm flipV="1">
            <a:off x="2052041" y="2876550"/>
            <a:ext cx="0" cy="1187584"/>
          </a:xfrm>
          <a:prstGeom prst="straightConnector1">
            <a:avLst/>
          </a:prstGeom>
          <a:noFill/>
          <a:ln w="6350">
            <a:solidFill>
              <a:schemeClr val="tx2"/>
            </a:solidFill>
            <a:tailEnd type="oval"/>
          </a:ln>
          <a:effectLst/>
        </p:spPr>
        <p:style>
          <a:lnRef idx="1">
            <a:schemeClr val="accent1"/>
          </a:lnRef>
          <a:fillRef idx="3">
            <a:schemeClr val="accent1"/>
          </a:fillRef>
          <a:effectRef idx="2">
            <a:schemeClr val="accent1"/>
          </a:effectRef>
          <a:fontRef idx="minor">
            <a:schemeClr val="lt1"/>
          </a:fontRef>
        </p:style>
      </p:cxnSp>
      <p:sp>
        <p:nvSpPr>
          <p:cNvPr id="49" name="Freeform: Shape 48">
            <a:extLst>
              <a:ext uri="{FF2B5EF4-FFF2-40B4-BE49-F238E27FC236}">
                <a16:creationId xmlns:a16="http://schemas.microsoft.com/office/drawing/2014/main" id="{82290A0B-F7A8-4C3B-AF0D-B05716D3C50F}"/>
              </a:ext>
            </a:extLst>
          </p:cNvPr>
          <p:cNvSpPr/>
          <p:nvPr/>
        </p:nvSpPr>
        <p:spPr>
          <a:xfrm flipH="1">
            <a:off x="2583169" y="1823828"/>
            <a:ext cx="293379" cy="576492"/>
          </a:xfrm>
          <a:custGeom>
            <a:avLst/>
            <a:gdLst>
              <a:gd name="connsiteX0" fmla="*/ 819150 w 819150"/>
              <a:gd name="connsiteY0" fmla="*/ 0 h 342900"/>
              <a:gd name="connsiteX1" fmla="*/ 0 w 819150"/>
              <a:gd name="connsiteY1" fmla="*/ 0 h 342900"/>
              <a:gd name="connsiteX2" fmla="*/ 0 w 819150"/>
              <a:gd name="connsiteY2" fmla="*/ 342900 h 342900"/>
            </a:gdLst>
            <a:ahLst/>
            <a:cxnLst>
              <a:cxn ang="0">
                <a:pos x="connsiteX0" y="connsiteY0"/>
              </a:cxn>
              <a:cxn ang="0">
                <a:pos x="connsiteX1" y="connsiteY1"/>
              </a:cxn>
              <a:cxn ang="0">
                <a:pos x="connsiteX2" y="connsiteY2"/>
              </a:cxn>
            </a:cxnLst>
            <a:rect l="l" t="t" r="r" b="b"/>
            <a:pathLst>
              <a:path w="819150" h="342900">
                <a:moveTo>
                  <a:pt x="819150" y="0"/>
                </a:moveTo>
                <a:lnTo>
                  <a:pt x="0" y="0"/>
                </a:lnTo>
                <a:lnTo>
                  <a:pt x="0" y="342900"/>
                </a:lnTo>
              </a:path>
            </a:pathLst>
          </a:custGeom>
          <a:noFill/>
          <a:ln w="6350">
            <a:solidFill>
              <a:schemeClr val="tx2"/>
            </a:solidFil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31797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B4F2606-CF0C-40A0-B870-7F1E889F5D55}"/>
              </a:ext>
            </a:extLst>
          </p:cNvPr>
          <p:cNvSpPr/>
          <p:nvPr/>
        </p:nvSpPr>
        <p:spPr>
          <a:xfrm>
            <a:off x="0" y="1"/>
            <a:ext cx="12188825"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a:cs typeface="Arial"/>
            </a:endParaRPr>
          </a:p>
        </p:txBody>
      </p:sp>
      <p:pic>
        <p:nvPicPr>
          <p:cNvPr id="2" name="Online Media 1" title="EdCoat 2016">
            <a:hlinkClick r:id="" action="ppaction://media"/>
            <a:extLst>
              <a:ext uri="{FF2B5EF4-FFF2-40B4-BE49-F238E27FC236}">
                <a16:creationId xmlns:a16="http://schemas.microsoft.com/office/drawing/2014/main" id="{DB7B2BCB-8C22-524D-AD9F-5B5B296158C5}"/>
              </a:ext>
            </a:extLst>
          </p:cNvPr>
          <p:cNvPicPr>
            <a:picLocks noRot="1" noChangeAspect="1"/>
          </p:cNvPicPr>
          <p:nvPr>
            <a:videoFile r:link="rId1"/>
          </p:nvPr>
        </p:nvPicPr>
        <p:blipFill>
          <a:blip r:embed="rId3"/>
          <a:stretch>
            <a:fillRect/>
          </a:stretch>
        </p:blipFill>
        <p:spPr>
          <a:xfrm>
            <a:off x="908467" y="604688"/>
            <a:ext cx="10318973" cy="5886627"/>
          </a:xfrm>
          <a:prstGeom prst="rect">
            <a:avLst/>
          </a:prstGeom>
        </p:spPr>
      </p:pic>
      <p:grpSp>
        <p:nvGrpSpPr>
          <p:cNvPr id="11" name="Group 10">
            <a:extLst>
              <a:ext uri="{FF2B5EF4-FFF2-40B4-BE49-F238E27FC236}">
                <a16:creationId xmlns:a16="http://schemas.microsoft.com/office/drawing/2014/main" id="{FF68CC17-65E9-42C7-BF6E-B49600121E09}"/>
              </a:ext>
            </a:extLst>
          </p:cNvPr>
          <p:cNvGrpSpPr/>
          <p:nvPr/>
        </p:nvGrpSpPr>
        <p:grpSpPr>
          <a:xfrm>
            <a:off x="11267231" y="6148330"/>
            <a:ext cx="664418" cy="525190"/>
            <a:chOff x="10850888" y="5174158"/>
            <a:chExt cx="664418" cy="525190"/>
          </a:xfrm>
        </p:grpSpPr>
        <p:sp>
          <p:nvSpPr>
            <p:cNvPr id="12" name="Freeform: Shape 11">
              <a:extLst>
                <a:ext uri="{FF2B5EF4-FFF2-40B4-BE49-F238E27FC236}">
                  <a16:creationId xmlns:a16="http://schemas.microsoft.com/office/drawing/2014/main" id="{BBBCFABA-1393-422D-A56F-FF5C9CBC62BF}"/>
                </a:ext>
              </a:extLst>
            </p:cNvPr>
            <p:cNvSpPr/>
            <p:nvPr/>
          </p:nvSpPr>
          <p:spPr>
            <a:xfrm>
              <a:off x="10850888" y="5174158"/>
              <a:ext cx="664418" cy="525190"/>
            </a:xfrm>
            <a:custGeom>
              <a:avLst/>
              <a:gdLst>
                <a:gd name="connsiteX0" fmla="*/ 538546 w 664418"/>
                <a:gd name="connsiteY0" fmla="*/ 525191 h 525190"/>
                <a:gd name="connsiteX1" fmla="*/ 125872 w 664418"/>
                <a:gd name="connsiteY1" fmla="*/ 525191 h 525190"/>
                <a:gd name="connsiteX2" fmla="*/ 0 w 664418"/>
                <a:gd name="connsiteY2" fmla="*/ 399319 h 525190"/>
                <a:gd name="connsiteX3" fmla="*/ 0 w 664418"/>
                <a:gd name="connsiteY3" fmla="*/ 125872 h 525190"/>
                <a:gd name="connsiteX4" fmla="*/ 125872 w 664418"/>
                <a:gd name="connsiteY4" fmla="*/ 0 h 525190"/>
                <a:gd name="connsiteX5" fmla="*/ 538546 w 664418"/>
                <a:gd name="connsiteY5" fmla="*/ 0 h 525190"/>
                <a:gd name="connsiteX6" fmla="*/ 664418 w 664418"/>
                <a:gd name="connsiteY6" fmla="*/ 125872 h 525190"/>
                <a:gd name="connsiteX7" fmla="*/ 664418 w 664418"/>
                <a:gd name="connsiteY7" fmla="*/ 399319 h 525190"/>
                <a:gd name="connsiteX8" fmla="*/ 538546 w 664418"/>
                <a:gd name="connsiteY8" fmla="*/ 525191 h 52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418" h="525190">
                  <a:moveTo>
                    <a:pt x="538546" y="525191"/>
                  </a:moveTo>
                  <a:lnTo>
                    <a:pt x="125872" y="525191"/>
                  </a:lnTo>
                  <a:cubicBezTo>
                    <a:pt x="56425" y="525191"/>
                    <a:pt x="0" y="468765"/>
                    <a:pt x="0" y="399319"/>
                  </a:cubicBezTo>
                  <a:lnTo>
                    <a:pt x="0" y="125872"/>
                  </a:lnTo>
                  <a:cubicBezTo>
                    <a:pt x="0" y="56425"/>
                    <a:pt x="56425" y="0"/>
                    <a:pt x="125872" y="0"/>
                  </a:cubicBezTo>
                  <a:lnTo>
                    <a:pt x="538546" y="0"/>
                  </a:lnTo>
                  <a:cubicBezTo>
                    <a:pt x="607993" y="0"/>
                    <a:pt x="664418" y="56425"/>
                    <a:pt x="664418" y="125872"/>
                  </a:cubicBezTo>
                  <a:lnTo>
                    <a:pt x="664418" y="399319"/>
                  </a:lnTo>
                  <a:cubicBezTo>
                    <a:pt x="664418" y="468765"/>
                    <a:pt x="607993" y="525191"/>
                    <a:pt x="538546" y="525191"/>
                  </a:cubicBezTo>
                  <a:close/>
                </a:path>
              </a:pathLst>
            </a:custGeom>
            <a:solidFill>
              <a:srgbClr val="FFFFFF"/>
            </a:solidFill>
            <a:ln w="3303"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F548750-0781-4005-9CD8-1C84BE577361}"/>
                </a:ext>
              </a:extLst>
            </p:cNvPr>
            <p:cNvSpPr/>
            <p:nvPr/>
          </p:nvSpPr>
          <p:spPr>
            <a:xfrm>
              <a:off x="10873257" y="5196527"/>
              <a:ext cx="619680" cy="480450"/>
            </a:xfrm>
            <a:custGeom>
              <a:avLst/>
              <a:gdLst>
                <a:gd name="connsiteX0" fmla="*/ 516176 w 619680"/>
                <a:gd name="connsiteY0" fmla="*/ 480451 h 480450"/>
                <a:gd name="connsiteX1" fmla="*/ 103502 w 619680"/>
                <a:gd name="connsiteY1" fmla="*/ 480451 h 480450"/>
                <a:gd name="connsiteX2" fmla="*/ 0 w 619680"/>
                <a:gd name="connsiteY2" fmla="*/ 376949 h 480450"/>
                <a:gd name="connsiteX3" fmla="*/ 0 w 619680"/>
                <a:gd name="connsiteY3" fmla="*/ 103502 h 480450"/>
                <a:gd name="connsiteX4" fmla="*/ 103502 w 619680"/>
                <a:gd name="connsiteY4" fmla="*/ 0 h 480450"/>
                <a:gd name="connsiteX5" fmla="*/ 516176 w 619680"/>
                <a:gd name="connsiteY5" fmla="*/ 0 h 480450"/>
                <a:gd name="connsiteX6" fmla="*/ 619678 w 619680"/>
                <a:gd name="connsiteY6" fmla="*/ 103502 h 480450"/>
                <a:gd name="connsiteX7" fmla="*/ 619678 w 619680"/>
                <a:gd name="connsiteY7" fmla="*/ 376949 h 480450"/>
                <a:gd name="connsiteX8" fmla="*/ 516176 w 619680"/>
                <a:gd name="connsiteY8" fmla="*/ 480451 h 4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680" h="480450">
                  <a:moveTo>
                    <a:pt x="516176" y="480451"/>
                  </a:moveTo>
                  <a:lnTo>
                    <a:pt x="103502" y="480451"/>
                  </a:lnTo>
                  <a:cubicBezTo>
                    <a:pt x="46409" y="480451"/>
                    <a:pt x="0" y="433708"/>
                    <a:pt x="0" y="376949"/>
                  </a:cubicBezTo>
                  <a:lnTo>
                    <a:pt x="0" y="103502"/>
                  </a:lnTo>
                  <a:cubicBezTo>
                    <a:pt x="0" y="46409"/>
                    <a:pt x="46743" y="0"/>
                    <a:pt x="103502" y="0"/>
                  </a:cubicBezTo>
                  <a:lnTo>
                    <a:pt x="516176" y="0"/>
                  </a:lnTo>
                  <a:cubicBezTo>
                    <a:pt x="573269" y="0"/>
                    <a:pt x="619678" y="46743"/>
                    <a:pt x="619678" y="103502"/>
                  </a:cubicBezTo>
                  <a:lnTo>
                    <a:pt x="619678" y="376949"/>
                  </a:lnTo>
                  <a:cubicBezTo>
                    <a:pt x="620012" y="434042"/>
                    <a:pt x="573269" y="480451"/>
                    <a:pt x="516176" y="480451"/>
                  </a:cubicBezTo>
                  <a:close/>
                </a:path>
              </a:pathLst>
            </a:custGeom>
            <a:solidFill>
              <a:srgbClr val="0078A9"/>
            </a:solidFill>
            <a:ln w="3303"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E1FF996-6201-4AFA-85BE-A771A224C98D}"/>
                </a:ext>
              </a:extLst>
            </p:cNvPr>
            <p:cNvSpPr/>
            <p:nvPr/>
          </p:nvSpPr>
          <p:spPr>
            <a:xfrm>
              <a:off x="10902639" y="5239677"/>
              <a:ext cx="561249" cy="393229"/>
            </a:xfrm>
            <a:custGeom>
              <a:avLst/>
              <a:gdLst>
                <a:gd name="connsiteX0" fmla="*/ 491135 w 561249"/>
                <a:gd name="connsiteY0" fmla="*/ 113106 h 393229"/>
                <a:gd name="connsiteX1" fmla="*/ 561250 w 561249"/>
                <a:gd name="connsiteY1" fmla="*/ 129800 h 393229"/>
                <a:gd name="connsiteX2" fmla="*/ 561250 w 561249"/>
                <a:gd name="connsiteY2" fmla="*/ 76379 h 393229"/>
                <a:gd name="connsiteX3" fmla="*/ 437047 w 561249"/>
                <a:gd name="connsiteY3" fmla="*/ 89066 h 393229"/>
                <a:gd name="connsiteX4" fmla="*/ 407332 w 561249"/>
                <a:gd name="connsiteY4" fmla="*/ 120785 h 393229"/>
                <a:gd name="connsiteX5" fmla="*/ 405996 w 561249"/>
                <a:gd name="connsiteY5" fmla="*/ 123456 h 393229"/>
                <a:gd name="connsiteX6" fmla="*/ 221695 w 561249"/>
                <a:gd name="connsiteY6" fmla="*/ 255 h 393229"/>
                <a:gd name="connsiteX7" fmla="*/ 166271 w 561249"/>
                <a:gd name="connsiteY7" fmla="*/ 255 h 393229"/>
                <a:gd name="connsiteX8" fmla="*/ 166271 w 561249"/>
                <a:gd name="connsiteY8" fmla="*/ 116445 h 393229"/>
                <a:gd name="connsiteX9" fmla="*/ 45407 w 561249"/>
                <a:gd name="connsiteY9" fmla="*/ 73374 h 393229"/>
                <a:gd name="connsiteX10" fmla="*/ 0 w 561249"/>
                <a:gd name="connsiteY10" fmla="*/ 73374 h 393229"/>
                <a:gd name="connsiteX11" fmla="*/ 0 w 561249"/>
                <a:gd name="connsiteY11" fmla="*/ 319109 h 393229"/>
                <a:gd name="connsiteX12" fmla="*/ 74455 w 561249"/>
                <a:gd name="connsiteY12" fmla="*/ 319109 h 393229"/>
                <a:gd name="connsiteX13" fmla="*/ 55758 w 561249"/>
                <a:gd name="connsiteY13" fmla="*/ 288392 h 393229"/>
                <a:gd name="connsiteX14" fmla="*/ 55758 w 561249"/>
                <a:gd name="connsiteY14" fmla="*/ 221616 h 393229"/>
                <a:gd name="connsiteX15" fmla="*/ 77126 w 561249"/>
                <a:gd name="connsiteY15" fmla="*/ 242984 h 393229"/>
                <a:gd name="connsiteX16" fmla="*/ 94821 w 561249"/>
                <a:gd name="connsiteY16" fmla="*/ 244988 h 393229"/>
                <a:gd name="connsiteX17" fmla="*/ 166271 w 561249"/>
                <a:gd name="connsiteY17" fmla="*/ 194238 h 393229"/>
                <a:gd name="connsiteX18" fmla="*/ 166271 w 561249"/>
                <a:gd name="connsiteY18" fmla="*/ 393230 h 393229"/>
                <a:gd name="connsiteX19" fmla="*/ 254749 w 561249"/>
                <a:gd name="connsiteY19" fmla="*/ 393230 h 393229"/>
                <a:gd name="connsiteX20" fmla="*/ 236052 w 561249"/>
                <a:gd name="connsiteY20" fmla="*/ 362847 h 393229"/>
                <a:gd name="connsiteX21" fmla="*/ 236052 w 561249"/>
                <a:gd name="connsiteY21" fmla="*/ 229295 h 393229"/>
                <a:gd name="connsiteX22" fmla="*/ 269774 w 561249"/>
                <a:gd name="connsiteY22" fmla="*/ 262683 h 393229"/>
                <a:gd name="connsiteX23" fmla="*/ 297820 w 561249"/>
                <a:gd name="connsiteY23" fmla="*/ 266690 h 393229"/>
                <a:gd name="connsiteX24" fmla="*/ 390972 w 561249"/>
                <a:gd name="connsiteY24" fmla="*/ 207593 h 393229"/>
                <a:gd name="connsiteX25" fmla="*/ 451737 w 561249"/>
                <a:gd name="connsiteY25" fmla="*/ 312765 h 393229"/>
                <a:gd name="connsiteX26" fmla="*/ 516844 w 561249"/>
                <a:gd name="connsiteY26" fmla="*/ 321112 h 393229"/>
                <a:gd name="connsiteX27" fmla="*/ 561250 w 561249"/>
                <a:gd name="connsiteY27" fmla="*/ 316772 h 393229"/>
                <a:gd name="connsiteX28" fmla="*/ 561250 w 561249"/>
                <a:gd name="connsiteY28" fmla="*/ 196575 h 393229"/>
                <a:gd name="connsiteX29" fmla="*/ 493472 w 561249"/>
                <a:gd name="connsiteY29" fmla="*/ 196575 h 393229"/>
                <a:gd name="connsiteX30" fmla="*/ 512169 w 561249"/>
                <a:gd name="connsiteY30" fmla="*/ 226624 h 393229"/>
                <a:gd name="connsiteX31" fmla="*/ 512169 w 561249"/>
                <a:gd name="connsiteY31" fmla="*/ 281714 h 393229"/>
                <a:gd name="connsiteX32" fmla="*/ 464091 w 561249"/>
                <a:gd name="connsiteY32" fmla="*/ 266690 h 393229"/>
                <a:gd name="connsiteX33" fmla="*/ 453073 w 561249"/>
                <a:gd name="connsiteY33" fmla="*/ 157512 h 393229"/>
                <a:gd name="connsiteX34" fmla="*/ 491135 w 561249"/>
                <a:gd name="connsiteY34" fmla="*/ 113106 h 393229"/>
                <a:gd name="connsiteX35" fmla="*/ 80799 w 561249"/>
                <a:gd name="connsiteY35" fmla="*/ 212268 h 393229"/>
                <a:gd name="connsiteX36" fmla="*/ 55424 w 561249"/>
                <a:gd name="connsiteY36" fmla="*/ 204588 h 393229"/>
                <a:gd name="connsiteX37" fmla="*/ 55424 w 561249"/>
                <a:gd name="connsiteY37" fmla="*/ 116111 h 393229"/>
                <a:gd name="connsiteX38" fmla="*/ 69113 w 561249"/>
                <a:gd name="connsiteY38" fmla="*/ 102422 h 393229"/>
                <a:gd name="connsiteX39" fmla="*/ 117859 w 561249"/>
                <a:gd name="connsiteY39" fmla="*/ 154173 h 393229"/>
                <a:gd name="connsiteX40" fmla="*/ 80799 w 561249"/>
                <a:gd name="connsiteY40" fmla="*/ 212268 h 393229"/>
                <a:gd name="connsiteX41" fmla="*/ 280792 w 561249"/>
                <a:gd name="connsiteY41" fmla="*/ 221282 h 393229"/>
                <a:gd name="connsiteX42" fmla="*/ 236052 w 561249"/>
                <a:gd name="connsiteY42" fmla="*/ 208595 h 393229"/>
                <a:gd name="connsiteX43" fmla="*/ 236052 w 561249"/>
                <a:gd name="connsiteY43" fmla="*/ 62022 h 393229"/>
                <a:gd name="connsiteX44" fmla="*/ 262762 w 561249"/>
                <a:gd name="connsiteY44" fmla="*/ 39986 h 393229"/>
                <a:gd name="connsiteX45" fmla="*/ 337217 w 561249"/>
                <a:gd name="connsiteY45" fmla="*/ 125125 h 393229"/>
                <a:gd name="connsiteX46" fmla="*/ 280792 w 561249"/>
                <a:gd name="connsiteY46" fmla="*/ 221282 h 39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61249" h="393229">
                  <a:moveTo>
                    <a:pt x="491135" y="113106"/>
                  </a:moveTo>
                  <a:cubicBezTo>
                    <a:pt x="515842" y="105760"/>
                    <a:pt x="541217" y="113440"/>
                    <a:pt x="561250" y="129800"/>
                  </a:cubicBezTo>
                  <a:lnTo>
                    <a:pt x="561250" y="76379"/>
                  </a:lnTo>
                  <a:cubicBezTo>
                    <a:pt x="496477" y="66029"/>
                    <a:pt x="462755" y="73040"/>
                    <a:pt x="437047" y="89066"/>
                  </a:cubicBezTo>
                  <a:cubicBezTo>
                    <a:pt x="416013" y="102422"/>
                    <a:pt x="407332" y="120785"/>
                    <a:pt x="407332" y="120785"/>
                  </a:cubicBezTo>
                  <a:cubicBezTo>
                    <a:pt x="407332" y="120785"/>
                    <a:pt x="406998" y="121787"/>
                    <a:pt x="405996" y="123456"/>
                  </a:cubicBezTo>
                  <a:cubicBezTo>
                    <a:pt x="402657" y="-11431"/>
                    <a:pt x="320189" y="255"/>
                    <a:pt x="221695" y="255"/>
                  </a:cubicBezTo>
                  <a:cubicBezTo>
                    <a:pt x="193983" y="255"/>
                    <a:pt x="166271" y="255"/>
                    <a:pt x="166271" y="255"/>
                  </a:cubicBezTo>
                  <a:lnTo>
                    <a:pt x="166271" y="116445"/>
                  </a:lnTo>
                  <a:cubicBezTo>
                    <a:pt x="149911" y="68366"/>
                    <a:pt x="99496" y="73374"/>
                    <a:pt x="45407" y="73374"/>
                  </a:cubicBezTo>
                  <a:cubicBezTo>
                    <a:pt x="25709" y="73374"/>
                    <a:pt x="0" y="73374"/>
                    <a:pt x="0" y="73374"/>
                  </a:cubicBezTo>
                  <a:lnTo>
                    <a:pt x="0" y="319109"/>
                  </a:lnTo>
                  <a:lnTo>
                    <a:pt x="74455" y="319109"/>
                  </a:lnTo>
                  <a:cubicBezTo>
                    <a:pt x="62101" y="314768"/>
                    <a:pt x="55758" y="304084"/>
                    <a:pt x="55758" y="288392"/>
                  </a:cubicBezTo>
                  <a:lnTo>
                    <a:pt x="55758" y="221616"/>
                  </a:lnTo>
                  <a:lnTo>
                    <a:pt x="77126" y="242984"/>
                  </a:lnTo>
                  <a:cubicBezTo>
                    <a:pt x="86475" y="245322"/>
                    <a:pt x="94821" y="244988"/>
                    <a:pt x="94821" y="244988"/>
                  </a:cubicBezTo>
                  <a:cubicBezTo>
                    <a:pt x="115522" y="243986"/>
                    <a:pt x="152249" y="235973"/>
                    <a:pt x="166271" y="194238"/>
                  </a:cubicBezTo>
                  <a:lnTo>
                    <a:pt x="166271" y="393230"/>
                  </a:lnTo>
                  <a:lnTo>
                    <a:pt x="254749" y="393230"/>
                  </a:lnTo>
                  <a:cubicBezTo>
                    <a:pt x="242396" y="388889"/>
                    <a:pt x="236052" y="378205"/>
                    <a:pt x="236052" y="362847"/>
                  </a:cubicBezTo>
                  <a:lnTo>
                    <a:pt x="236052" y="229295"/>
                  </a:lnTo>
                  <a:lnTo>
                    <a:pt x="269774" y="262683"/>
                  </a:lnTo>
                  <a:cubicBezTo>
                    <a:pt x="280458" y="266690"/>
                    <a:pt x="288471" y="267358"/>
                    <a:pt x="297820" y="266690"/>
                  </a:cubicBezTo>
                  <a:cubicBezTo>
                    <a:pt x="323528" y="265020"/>
                    <a:pt x="367934" y="254002"/>
                    <a:pt x="390972" y="207593"/>
                  </a:cubicBezTo>
                  <a:cubicBezTo>
                    <a:pt x="392975" y="251665"/>
                    <a:pt x="407332" y="295737"/>
                    <a:pt x="451737" y="312765"/>
                  </a:cubicBezTo>
                  <a:cubicBezTo>
                    <a:pt x="471436" y="320778"/>
                    <a:pt x="493806" y="323115"/>
                    <a:pt x="516844" y="321112"/>
                  </a:cubicBezTo>
                  <a:cubicBezTo>
                    <a:pt x="531868" y="320778"/>
                    <a:pt x="546559" y="319443"/>
                    <a:pt x="561250" y="316772"/>
                  </a:cubicBezTo>
                  <a:lnTo>
                    <a:pt x="561250" y="196575"/>
                  </a:lnTo>
                  <a:lnTo>
                    <a:pt x="493472" y="196575"/>
                  </a:lnTo>
                  <a:cubicBezTo>
                    <a:pt x="505826" y="200916"/>
                    <a:pt x="512169" y="211266"/>
                    <a:pt x="512169" y="226624"/>
                  </a:cubicBezTo>
                  <a:lnTo>
                    <a:pt x="512169" y="281714"/>
                  </a:lnTo>
                  <a:cubicBezTo>
                    <a:pt x="496811" y="286722"/>
                    <a:pt x="475777" y="281714"/>
                    <a:pt x="464091" y="266690"/>
                  </a:cubicBezTo>
                  <a:cubicBezTo>
                    <a:pt x="449400" y="247659"/>
                    <a:pt x="446729" y="193904"/>
                    <a:pt x="453073" y="157512"/>
                  </a:cubicBezTo>
                  <a:cubicBezTo>
                    <a:pt x="456412" y="139148"/>
                    <a:pt x="472104" y="118782"/>
                    <a:pt x="491135" y="113106"/>
                  </a:cubicBezTo>
                  <a:close/>
                  <a:moveTo>
                    <a:pt x="80799" y="212268"/>
                  </a:moveTo>
                  <a:cubicBezTo>
                    <a:pt x="62769" y="212268"/>
                    <a:pt x="55424" y="204588"/>
                    <a:pt x="55424" y="204588"/>
                  </a:cubicBezTo>
                  <a:lnTo>
                    <a:pt x="55424" y="116111"/>
                  </a:lnTo>
                  <a:cubicBezTo>
                    <a:pt x="55424" y="108431"/>
                    <a:pt x="60766" y="103423"/>
                    <a:pt x="69113" y="102422"/>
                  </a:cubicBezTo>
                  <a:cubicBezTo>
                    <a:pt x="77794" y="101420"/>
                    <a:pt x="117859" y="95076"/>
                    <a:pt x="117859" y="154173"/>
                  </a:cubicBezTo>
                  <a:cubicBezTo>
                    <a:pt x="117525" y="209597"/>
                    <a:pt x="93152" y="212268"/>
                    <a:pt x="80799" y="212268"/>
                  </a:cubicBezTo>
                  <a:close/>
                  <a:moveTo>
                    <a:pt x="280792" y="221282"/>
                  </a:moveTo>
                  <a:cubicBezTo>
                    <a:pt x="253748" y="221282"/>
                    <a:pt x="236052" y="208595"/>
                    <a:pt x="236052" y="208595"/>
                  </a:cubicBezTo>
                  <a:lnTo>
                    <a:pt x="236052" y="62022"/>
                  </a:lnTo>
                  <a:cubicBezTo>
                    <a:pt x="236052" y="49669"/>
                    <a:pt x="250409" y="41322"/>
                    <a:pt x="262762" y="39986"/>
                  </a:cubicBezTo>
                  <a:cubicBezTo>
                    <a:pt x="276117" y="38317"/>
                    <a:pt x="337217" y="28968"/>
                    <a:pt x="337217" y="125125"/>
                  </a:cubicBezTo>
                  <a:cubicBezTo>
                    <a:pt x="337217" y="211600"/>
                    <a:pt x="295816" y="221282"/>
                    <a:pt x="280792" y="221282"/>
                  </a:cubicBezTo>
                  <a:close/>
                </a:path>
              </a:pathLst>
            </a:custGeom>
            <a:solidFill>
              <a:srgbClr val="FFFFFF"/>
            </a:solidFill>
            <a:ln w="3303" cap="flat">
              <a:noFill/>
              <a:prstDash val="solid"/>
              <a:miter/>
            </a:ln>
          </p:spPr>
          <p:txBody>
            <a:bodyPr rtlCol="0" anchor="ctr"/>
            <a:lstStyle/>
            <a:p>
              <a:endParaRPr lang="en-US"/>
            </a:p>
          </p:txBody>
        </p:sp>
      </p:grpSp>
      <p:sp>
        <p:nvSpPr>
          <p:cNvPr id="5" name="Rectangle 4">
            <a:extLst>
              <a:ext uri="{FF2B5EF4-FFF2-40B4-BE49-F238E27FC236}">
                <a16:creationId xmlns:a16="http://schemas.microsoft.com/office/drawing/2014/main" id="{D8FCB30C-26D9-4DC8-A650-F646FE9C5035}"/>
              </a:ext>
            </a:extLst>
          </p:cNvPr>
          <p:cNvSpPr/>
          <p:nvPr/>
        </p:nvSpPr>
        <p:spPr>
          <a:xfrm>
            <a:off x="0" y="323848"/>
            <a:ext cx="3713101" cy="93174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57094BAF-7A13-46D2-823A-D406CBE378A2}"/>
              </a:ext>
            </a:extLst>
          </p:cNvPr>
          <p:cNvSpPr/>
          <p:nvPr/>
        </p:nvSpPr>
        <p:spPr>
          <a:xfrm>
            <a:off x="3713103" y="323848"/>
            <a:ext cx="931746" cy="931746"/>
          </a:xfrm>
          <a:custGeom>
            <a:avLst/>
            <a:gdLst>
              <a:gd name="connsiteX0" fmla="*/ 0 w 931746"/>
              <a:gd name="connsiteY0" fmla="*/ 0 h 931746"/>
              <a:gd name="connsiteX1" fmla="*/ 931746 w 931746"/>
              <a:gd name="connsiteY1" fmla="*/ 0 h 931746"/>
              <a:gd name="connsiteX2" fmla="*/ 931746 w 931746"/>
              <a:gd name="connsiteY2" fmla="*/ 931746 h 931746"/>
              <a:gd name="connsiteX3" fmla="*/ 0 w 931746"/>
              <a:gd name="connsiteY3" fmla="*/ 931746 h 931746"/>
              <a:gd name="connsiteX4" fmla="*/ 0 w 931746"/>
              <a:gd name="connsiteY4" fmla="*/ 0 h 931746"/>
              <a:gd name="connsiteX0" fmla="*/ 0 w 931746"/>
              <a:gd name="connsiteY0" fmla="*/ 0 h 931746"/>
              <a:gd name="connsiteX1" fmla="*/ 931746 w 931746"/>
              <a:gd name="connsiteY1" fmla="*/ 0 h 931746"/>
              <a:gd name="connsiteX2" fmla="*/ 0 w 931746"/>
              <a:gd name="connsiteY2" fmla="*/ 931746 h 931746"/>
              <a:gd name="connsiteX3" fmla="*/ 0 w 931746"/>
              <a:gd name="connsiteY3" fmla="*/ 0 h 931746"/>
            </a:gdLst>
            <a:ahLst/>
            <a:cxnLst>
              <a:cxn ang="0">
                <a:pos x="connsiteX0" y="connsiteY0"/>
              </a:cxn>
              <a:cxn ang="0">
                <a:pos x="connsiteX1" y="connsiteY1"/>
              </a:cxn>
              <a:cxn ang="0">
                <a:pos x="connsiteX2" y="connsiteY2"/>
              </a:cxn>
              <a:cxn ang="0">
                <a:pos x="connsiteX3" y="connsiteY3"/>
              </a:cxn>
            </a:cxnLst>
            <a:rect l="l" t="t" r="r" b="b"/>
            <a:pathLst>
              <a:path w="931746" h="931746">
                <a:moveTo>
                  <a:pt x="0" y="0"/>
                </a:moveTo>
                <a:lnTo>
                  <a:pt x="931746" y="0"/>
                </a:lnTo>
                <a:lnTo>
                  <a:pt x="0" y="931746"/>
                </a:lnTo>
                <a:lnTo>
                  <a:pt x="0" y="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4"/>
          <p:cNvSpPr>
            <a:spLocks noGrp="1"/>
          </p:cNvSpPr>
          <p:nvPr>
            <p:ph type="title"/>
          </p:nvPr>
        </p:nvSpPr>
        <p:spPr>
          <a:xfrm>
            <a:off x="122654" y="247161"/>
            <a:ext cx="4042822" cy="931746"/>
          </a:xfrm>
        </p:spPr>
        <p:txBody>
          <a:bodyPr vert="horz" lIns="0" tIns="0" rIns="0" bIns="0" rtlCol="0" anchor="ctr" anchorCtr="0">
            <a:noAutofit/>
          </a:bodyPr>
          <a:lstStyle/>
          <a:p>
            <a:pPr>
              <a:lnSpc>
                <a:spcPct val="90000"/>
              </a:lnSpc>
            </a:pPr>
            <a:r>
              <a:rPr lang="en-US" sz="2600">
                <a:solidFill>
                  <a:schemeClr val="bg2"/>
                </a:solidFill>
              </a:rPr>
              <a:t>Coil Coating application</a:t>
            </a:r>
          </a:p>
        </p:txBody>
      </p:sp>
      <p:sp>
        <p:nvSpPr>
          <p:cNvPr id="4" name="Slide Number Placeholder 3"/>
          <p:cNvSpPr>
            <a:spLocks noGrp="1"/>
          </p:cNvSpPr>
          <p:nvPr>
            <p:ph type="sldNum" sz="quarter" idx="11"/>
          </p:nvPr>
        </p:nvSpPr>
        <p:spPr/>
        <p:txBody>
          <a:bodyPr/>
          <a:lstStyle/>
          <a:p>
            <a:fld id="{FD9C4343-C115-504A-8D4F-0B17318D4A48}" type="slidenum">
              <a:rPr lang="en-US" smtClean="0">
                <a:solidFill>
                  <a:schemeClr val="bg1"/>
                </a:solidFill>
              </a:rPr>
              <a:pPr/>
              <a:t>22</a:t>
            </a:fld>
            <a:endParaRPr lang="en-US">
              <a:solidFill>
                <a:schemeClr val="bg1"/>
              </a:solidFill>
            </a:endParaRPr>
          </a:p>
        </p:txBody>
      </p:sp>
    </p:spTree>
    <p:extLst>
      <p:ext uri="{BB962C8B-B14F-4D97-AF65-F5344CB8AC3E}">
        <p14:creationId xmlns:p14="http://schemas.microsoft.com/office/powerpoint/2010/main" val="4443882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9C3B60E-2830-4935-A1E6-FDAB20538B44}"/>
              </a:ext>
            </a:extLst>
          </p:cNvPr>
          <p:cNvPicPr>
            <a:picLocks noChangeAspect="1"/>
          </p:cNvPicPr>
          <p:nvPr/>
        </p:nvPicPr>
        <p:blipFill rotWithShape="1">
          <a:blip r:embed="rId2"/>
          <a:srcRect l="2191"/>
          <a:stretch/>
        </p:blipFill>
        <p:spPr>
          <a:xfrm>
            <a:off x="-1" y="0"/>
            <a:ext cx="11921727" cy="6863592"/>
          </a:xfrm>
          <a:prstGeom prst="rect">
            <a:avLst/>
          </a:prstGeom>
        </p:spPr>
      </p:pic>
      <p:sp>
        <p:nvSpPr>
          <p:cNvPr id="13" name="Rectangle 12">
            <a:extLst>
              <a:ext uri="{FF2B5EF4-FFF2-40B4-BE49-F238E27FC236}">
                <a16:creationId xmlns:a16="http://schemas.microsoft.com/office/drawing/2014/main" id="{C740A495-D4A6-4E7E-98D7-205AE088D76B}"/>
              </a:ext>
            </a:extLst>
          </p:cNvPr>
          <p:cNvSpPr/>
          <p:nvPr/>
        </p:nvSpPr>
        <p:spPr>
          <a:xfrm>
            <a:off x="9741522" y="892"/>
            <a:ext cx="2421952" cy="689198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14" name="Rectangle 5">
            <a:extLst>
              <a:ext uri="{FF2B5EF4-FFF2-40B4-BE49-F238E27FC236}">
                <a16:creationId xmlns:a16="http://schemas.microsoft.com/office/drawing/2014/main" id="{AC225862-0158-4FFC-8A18-F1026C5D6914}"/>
              </a:ext>
            </a:extLst>
          </p:cNvPr>
          <p:cNvSpPr/>
          <p:nvPr/>
        </p:nvSpPr>
        <p:spPr>
          <a:xfrm>
            <a:off x="6258644" y="892"/>
            <a:ext cx="3508228" cy="6891986"/>
          </a:xfrm>
          <a:custGeom>
            <a:avLst/>
            <a:gdLst>
              <a:gd name="connsiteX0" fmla="*/ 0 w 5613621"/>
              <a:gd name="connsiteY0" fmla="*/ 0 h 5613621"/>
              <a:gd name="connsiteX1" fmla="*/ 5613621 w 5613621"/>
              <a:gd name="connsiteY1" fmla="*/ 0 h 5613621"/>
              <a:gd name="connsiteX2" fmla="*/ 5613621 w 5613621"/>
              <a:gd name="connsiteY2" fmla="*/ 5613621 h 5613621"/>
              <a:gd name="connsiteX3" fmla="*/ 0 w 5613621"/>
              <a:gd name="connsiteY3" fmla="*/ 5613621 h 5613621"/>
              <a:gd name="connsiteX4" fmla="*/ 0 w 5613621"/>
              <a:gd name="connsiteY4" fmla="*/ 0 h 5613621"/>
              <a:gd name="connsiteX0" fmla="*/ 0 w 5613621"/>
              <a:gd name="connsiteY0" fmla="*/ 5613621 h 5613621"/>
              <a:gd name="connsiteX1" fmla="*/ 5613621 w 5613621"/>
              <a:gd name="connsiteY1" fmla="*/ 0 h 5613621"/>
              <a:gd name="connsiteX2" fmla="*/ 5613621 w 5613621"/>
              <a:gd name="connsiteY2" fmla="*/ 5613621 h 5613621"/>
              <a:gd name="connsiteX3" fmla="*/ 0 w 5613621"/>
              <a:gd name="connsiteY3" fmla="*/ 5613621 h 5613621"/>
            </a:gdLst>
            <a:ahLst/>
            <a:cxnLst>
              <a:cxn ang="0">
                <a:pos x="connsiteX0" y="connsiteY0"/>
              </a:cxn>
              <a:cxn ang="0">
                <a:pos x="connsiteX1" y="connsiteY1"/>
              </a:cxn>
              <a:cxn ang="0">
                <a:pos x="connsiteX2" y="connsiteY2"/>
              </a:cxn>
              <a:cxn ang="0">
                <a:pos x="connsiteX3" y="connsiteY3"/>
              </a:cxn>
            </a:cxnLst>
            <a:rect l="l" t="t" r="r" b="b"/>
            <a:pathLst>
              <a:path w="5613621" h="5613621">
                <a:moveTo>
                  <a:pt x="0" y="5613621"/>
                </a:moveTo>
                <a:lnTo>
                  <a:pt x="5613621" y="0"/>
                </a:lnTo>
                <a:lnTo>
                  <a:pt x="5613621" y="5613621"/>
                </a:lnTo>
                <a:lnTo>
                  <a:pt x="0" y="5613621"/>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itle 2"/>
          <p:cNvSpPr>
            <a:spLocks noGrp="1"/>
          </p:cNvSpPr>
          <p:nvPr>
            <p:ph type="ctrTitle"/>
          </p:nvPr>
        </p:nvSpPr>
        <p:spPr>
          <a:xfrm>
            <a:off x="8161361" y="4556430"/>
            <a:ext cx="3234520" cy="984077"/>
          </a:xfrm>
        </p:spPr>
        <p:txBody>
          <a:bodyPr>
            <a:normAutofit fontScale="90000"/>
          </a:bodyPr>
          <a:lstStyle/>
          <a:p>
            <a:pPr algn="r"/>
            <a:r>
              <a:rPr lang="en-US" sz="3550">
                <a:solidFill>
                  <a:schemeClr val="bg1"/>
                </a:solidFill>
              </a:rPr>
              <a:t>Substrates and impact on application</a:t>
            </a:r>
            <a:endParaRPr lang="en-US" sz="3599">
              <a:solidFill>
                <a:schemeClr val="bg1"/>
              </a:solidFill>
            </a:endParaRPr>
          </a:p>
        </p:txBody>
      </p:sp>
      <p:grpSp>
        <p:nvGrpSpPr>
          <p:cNvPr id="8" name="Group 7">
            <a:extLst>
              <a:ext uri="{FF2B5EF4-FFF2-40B4-BE49-F238E27FC236}">
                <a16:creationId xmlns:a16="http://schemas.microsoft.com/office/drawing/2014/main" id="{A9360C37-1C5C-4C2D-AD16-23978B050840}"/>
              </a:ext>
            </a:extLst>
          </p:cNvPr>
          <p:cNvGrpSpPr/>
          <p:nvPr/>
        </p:nvGrpSpPr>
        <p:grpSpPr>
          <a:xfrm>
            <a:off x="11248166" y="6140170"/>
            <a:ext cx="697906" cy="551833"/>
            <a:chOff x="9440863" y="5832475"/>
            <a:chExt cx="1092200" cy="863600"/>
          </a:xfrm>
        </p:grpSpPr>
        <p:sp>
          <p:nvSpPr>
            <p:cNvPr id="9" name="AutoShape 3">
              <a:extLst>
                <a:ext uri="{FF2B5EF4-FFF2-40B4-BE49-F238E27FC236}">
                  <a16:creationId xmlns:a16="http://schemas.microsoft.com/office/drawing/2014/main" id="{6EF11D5D-E156-4CBC-BD9C-449EC85EAEAD}"/>
                </a:ext>
              </a:extLst>
            </p:cNvPr>
            <p:cNvSpPr>
              <a:spLocks noChangeAspect="1" noChangeArrowheads="1" noTextEdit="1"/>
            </p:cNvSpPr>
            <p:nvPr/>
          </p:nvSpPr>
          <p:spPr bwMode="auto">
            <a:xfrm>
              <a:off x="9440863" y="5832475"/>
              <a:ext cx="109220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0" name="Freeform 5">
              <a:extLst>
                <a:ext uri="{FF2B5EF4-FFF2-40B4-BE49-F238E27FC236}">
                  <a16:creationId xmlns:a16="http://schemas.microsoft.com/office/drawing/2014/main" id="{CDDB7B7A-A8EE-4606-B44A-7BC160C8F68C}"/>
                </a:ext>
              </a:extLst>
            </p:cNvPr>
            <p:cNvSpPr>
              <a:spLocks/>
            </p:cNvSpPr>
            <p:nvPr/>
          </p:nvSpPr>
          <p:spPr bwMode="auto">
            <a:xfrm>
              <a:off x="9440863" y="5832475"/>
              <a:ext cx="1092200" cy="863600"/>
            </a:xfrm>
            <a:custGeom>
              <a:avLst/>
              <a:gdLst>
                <a:gd name="T0" fmla="*/ 130 w 688"/>
                <a:gd name="T1" fmla="*/ 544 h 544"/>
                <a:gd name="T2" fmla="*/ 116 w 688"/>
                <a:gd name="T3" fmla="*/ 544 h 544"/>
                <a:gd name="T4" fmla="*/ 90 w 688"/>
                <a:gd name="T5" fmla="*/ 538 h 544"/>
                <a:gd name="T6" fmla="*/ 68 w 688"/>
                <a:gd name="T7" fmla="*/ 528 h 544"/>
                <a:gd name="T8" fmla="*/ 38 w 688"/>
                <a:gd name="T9" fmla="*/ 506 h 544"/>
                <a:gd name="T10" fmla="*/ 16 w 688"/>
                <a:gd name="T11" fmla="*/ 476 h 544"/>
                <a:gd name="T12" fmla="*/ 6 w 688"/>
                <a:gd name="T13" fmla="*/ 454 h 544"/>
                <a:gd name="T14" fmla="*/ 0 w 688"/>
                <a:gd name="T15" fmla="*/ 428 h 544"/>
                <a:gd name="T16" fmla="*/ 0 w 688"/>
                <a:gd name="T17" fmla="*/ 130 h 544"/>
                <a:gd name="T18" fmla="*/ 0 w 688"/>
                <a:gd name="T19" fmla="*/ 116 h 544"/>
                <a:gd name="T20" fmla="*/ 6 w 688"/>
                <a:gd name="T21" fmla="*/ 92 h 544"/>
                <a:gd name="T22" fmla="*/ 16 w 688"/>
                <a:gd name="T23" fmla="*/ 68 h 544"/>
                <a:gd name="T24" fmla="*/ 38 w 688"/>
                <a:gd name="T25" fmla="*/ 38 h 544"/>
                <a:gd name="T26" fmla="*/ 68 w 688"/>
                <a:gd name="T27" fmla="*/ 16 h 544"/>
                <a:gd name="T28" fmla="*/ 90 w 688"/>
                <a:gd name="T29" fmla="*/ 6 h 544"/>
                <a:gd name="T30" fmla="*/ 116 w 688"/>
                <a:gd name="T31" fmla="*/ 0 h 544"/>
                <a:gd name="T32" fmla="*/ 558 w 688"/>
                <a:gd name="T33" fmla="*/ 0 h 544"/>
                <a:gd name="T34" fmla="*/ 572 w 688"/>
                <a:gd name="T35" fmla="*/ 0 h 544"/>
                <a:gd name="T36" fmla="*/ 596 w 688"/>
                <a:gd name="T37" fmla="*/ 6 h 544"/>
                <a:gd name="T38" fmla="*/ 620 w 688"/>
                <a:gd name="T39" fmla="*/ 16 h 544"/>
                <a:gd name="T40" fmla="*/ 650 w 688"/>
                <a:gd name="T41" fmla="*/ 38 h 544"/>
                <a:gd name="T42" fmla="*/ 672 w 688"/>
                <a:gd name="T43" fmla="*/ 68 h 544"/>
                <a:gd name="T44" fmla="*/ 682 w 688"/>
                <a:gd name="T45" fmla="*/ 92 h 544"/>
                <a:gd name="T46" fmla="*/ 688 w 688"/>
                <a:gd name="T47" fmla="*/ 116 h 544"/>
                <a:gd name="T48" fmla="*/ 688 w 688"/>
                <a:gd name="T49" fmla="*/ 414 h 544"/>
                <a:gd name="T50" fmla="*/ 688 w 688"/>
                <a:gd name="T51" fmla="*/ 428 h 544"/>
                <a:gd name="T52" fmla="*/ 682 w 688"/>
                <a:gd name="T53" fmla="*/ 454 h 544"/>
                <a:gd name="T54" fmla="*/ 672 w 688"/>
                <a:gd name="T55" fmla="*/ 476 h 544"/>
                <a:gd name="T56" fmla="*/ 650 w 688"/>
                <a:gd name="T57" fmla="*/ 506 h 544"/>
                <a:gd name="T58" fmla="*/ 620 w 688"/>
                <a:gd name="T59" fmla="*/ 528 h 544"/>
                <a:gd name="T60" fmla="*/ 596 w 688"/>
                <a:gd name="T61" fmla="*/ 538 h 544"/>
                <a:gd name="T62" fmla="*/ 572 w 688"/>
                <a:gd name="T63" fmla="*/ 544 h 544"/>
                <a:gd name="T64" fmla="*/ 558 w 688"/>
                <a:gd name="T65" fmla="*/ 544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8" h="544">
                  <a:moveTo>
                    <a:pt x="558" y="544"/>
                  </a:moveTo>
                  <a:lnTo>
                    <a:pt x="130" y="544"/>
                  </a:lnTo>
                  <a:lnTo>
                    <a:pt x="130" y="544"/>
                  </a:lnTo>
                  <a:lnTo>
                    <a:pt x="116" y="544"/>
                  </a:lnTo>
                  <a:lnTo>
                    <a:pt x="104" y="542"/>
                  </a:lnTo>
                  <a:lnTo>
                    <a:pt x="90" y="538"/>
                  </a:lnTo>
                  <a:lnTo>
                    <a:pt x="78" y="534"/>
                  </a:lnTo>
                  <a:lnTo>
                    <a:pt x="68" y="528"/>
                  </a:lnTo>
                  <a:lnTo>
                    <a:pt x="56" y="522"/>
                  </a:lnTo>
                  <a:lnTo>
                    <a:pt x="38" y="506"/>
                  </a:lnTo>
                  <a:lnTo>
                    <a:pt x="22" y="488"/>
                  </a:lnTo>
                  <a:lnTo>
                    <a:pt x="16" y="476"/>
                  </a:lnTo>
                  <a:lnTo>
                    <a:pt x="10" y="466"/>
                  </a:lnTo>
                  <a:lnTo>
                    <a:pt x="6" y="454"/>
                  </a:lnTo>
                  <a:lnTo>
                    <a:pt x="2" y="440"/>
                  </a:lnTo>
                  <a:lnTo>
                    <a:pt x="0" y="428"/>
                  </a:lnTo>
                  <a:lnTo>
                    <a:pt x="0" y="414"/>
                  </a:lnTo>
                  <a:lnTo>
                    <a:pt x="0" y="130"/>
                  </a:lnTo>
                  <a:lnTo>
                    <a:pt x="0" y="130"/>
                  </a:lnTo>
                  <a:lnTo>
                    <a:pt x="0" y="116"/>
                  </a:lnTo>
                  <a:lnTo>
                    <a:pt x="2" y="104"/>
                  </a:lnTo>
                  <a:lnTo>
                    <a:pt x="6" y="92"/>
                  </a:lnTo>
                  <a:lnTo>
                    <a:pt x="10" y="80"/>
                  </a:lnTo>
                  <a:lnTo>
                    <a:pt x="16" y="68"/>
                  </a:lnTo>
                  <a:lnTo>
                    <a:pt x="22" y="58"/>
                  </a:lnTo>
                  <a:lnTo>
                    <a:pt x="38" y="38"/>
                  </a:lnTo>
                  <a:lnTo>
                    <a:pt x="56" y="22"/>
                  </a:lnTo>
                  <a:lnTo>
                    <a:pt x="68" y="16"/>
                  </a:lnTo>
                  <a:lnTo>
                    <a:pt x="78" y="10"/>
                  </a:lnTo>
                  <a:lnTo>
                    <a:pt x="90" y="6"/>
                  </a:lnTo>
                  <a:lnTo>
                    <a:pt x="104" y="2"/>
                  </a:lnTo>
                  <a:lnTo>
                    <a:pt x="116" y="0"/>
                  </a:lnTo>
                  <a:lnTo>
                    <a:pt x="130" y="0"/>
                  </a:lnTo>
                  <a:lnTo>
                    <a:pt x="558" y="0"/>
                  </a:lnTo>
                  <a:lnTo>
                    <a:pt x="558" y="0"/>
                  </a:lnTo>
                  <a:lnTo>
                    <a:pt x="572" y="0"/>
                  </a:lnTo>
                  <a:lnTo>
                    <a:pt x="584" y="2"/>
                  </a:lnTo>
                  <a:lnTo>
                    <a:pt x="596" y="6"/>
                  </a:lnTo>
                  <a:lnTo>
                    <a:pt x="608" y="10"/>
                  </a:lnTo>
                  <a:lnTo>
                    <a:pt x="620" y="16"/>
                  </a:lnTo>
                  <a:lnTo>
                    <a:pt x="630" y="22"/>
                  </a:lnTo>
                  <a:lnTo>
                    <a:pt x="650" y="38"/>
                  </a:lnTo>
                  <a:lnTo>
                    <a:pt x="666" y="58"/>
                  </a:lnTo>
                  <a:lnTo>
                    <a:pt x="672" y="68"/>
                  </a:lnTo>
                  <a:lnTo>
                    <a:pt x="678" y="80"/>
                  </a:lnTo>
                  <a:lnTo>
                    <a:pt x="682" y="92"/>
                  </a:lnTo>
                  <a:lnTo>
                    <a:pt x="686" y="104"/>
                  </a:lnTo>
                  <a:lnTo>
                    <a:pt x="688" y="116"/>
                  </a:lnTo>
                  <a:lnTo>
                    <a:pt x="688" y="130"/>
                  </a:lnTo>
                  <a:lnTo>
                    <a:pt x="688" y="414"/>
                  </a:lnTo>
                  <a:lnTo>
                    <a:pt x="688" y="414"/>
                  </a:lnTo>
                  <a:lnTo>
                    <a:pt x="688" y="428"/>
                  </a:lnTo>
                  <a:lnTo>
                    <a:pt x="686" y="440"/>
                  </a:lnTo>
                  <a:lnTo>
                    <a:pt x="682" y="454"/>
                  </a:lnTo>
                  <a:lnTo>
                    <a:pt x="678" y="466"/>
                  </a:lnTo>
                  <a:lnTo>
                    <a:pt x="672" y="476"/>
                  </a:lnTo>
                  <a:lnTo>
                    <a:pt x="666" y="488"/>
                  </a:lnTo>
                  <a:lnTo>
                    <a:pt x="650" y="506"/>
                  </a:lnTo>
                  <a:lnTo>
                    <a:pt x="630" y="522"/>
                  </a:lnTo>
                  <a:lnTo>
                    <a:pt x="620" y="528"/>
                  </a:lnTo>
                  <a:lnTo>
                    <a:pt x="608" y="534"/>
                  </a:lnTo>
                  <a:lnTo>
                    <a:pt x="596" y="538"/>
                  </a:lnTo>
                  <a:lnTo>
                    <a:pt x="584" y="542"/>
                  </a:lnTo>
                  <a:lnTo>
                    <a:pt x="572" y="544"/>
                  </a:lnTo>
                  <a:lnTo>
                    <a:pt x="558" y="544"/>
                  </a:lnTo>
                  <a:lnTo>
                    <a:pt x="558" y="5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1" name="Freeform 6">
              <a:extLst>
                <a:ext uri="{FF2B5EF4-FFF2-40B4-BE49-F238E27FC236}">
                  <a16:creationId xmlns:a16="http://schemas.microsoft.com/office/drawing/2014/main" id="{74B431EA-9C67-45E4-B298-3830B15E829F}"/>
                </a:ext>
              </a:extLst>
            </p:cNvPr>
            <p:cNvSpPr>
              <a:spLocks/>
            </p:cNvSpPr>
            <p:nvPr/>
          </p:nvSpPr>
          <p:spPr bwMode="auto">
            <a:xfrm>
              <a:off x="9475788" y="5870575"/>
              <a:ext cx="1019175" cy="790575"/>
            </a:xfrm>
            <a:custGeom>
              <a:avLst/>
              <a:gdLst>
                <a:gd name="T0" fmla="*/ 536 w 642"/>
                <a:gd name="T1" fmla="*/ 498 h 498"/>
                <a:gd name="T2" fmla="*/ 108 w 642"/>
                <a:gd name="T3" fmla="*/ 498 h 498"/>
                <a:gd name="T4" fmla="*/ 108 w 642"/>
                <a:gd name="T5" fmla="*/ 498 h 498"/>
                <a:gd name="T6" fmla="*/ 86 w 642"/>
                <a:gd name="T7" fmla="*/ 496 h 498"/>
                <a:gd name="T8" fmla="*/ 66 w 642"/>
                <a:gd name="T9" fmla="*/ 490 h 498"/>
                <a:gd name="T10" fmla="*/ 48 w 642"/>
                <a:gd name="T11" fmla="*/ 480 h 498"/>
                <a:gd name="T12" fmla="*/ 32 w 642"/>
                <a:gd name="T13" fmla="*/ 466 h 498"/>
                <a:gd name="T14" fmla="*/ 18 w 642"/>
                <a:gd name="T15" fmla="*/ 450 h 498"/>
                <a:gd name="T16" fmla="*/ 8 w 642"/>
                <a:gd name="T17" fmla="*/ 432 h 498"/>
                <a:gd name="T18" fmla="*/ 2 w 642"/>
                <a:gd name="T19" fmla="*/ 412 h 498"/>
                <a:gd name="T20" fmla="*/ 0 w 642"/>
                <a:gd name="T21" fmla="*/ 390 h 498"/>
                <a:gd name="T22" fmla="*/ 0 w 642"/>
                <a:gd name="T23" fmla="*/ 106 h 498"/>
                <a:gd name="T24" fmla="*/ 0 w 642"/>
                <a:gd name="T25" fmla="*/ 106 h 498"/>
                <a:gd name="T26" fmla="*/ 2 w 642"/>
                <a:gd name="T27" fmla="*/ 84 h 498"/>
                <a:gd name="T28" fmla="*/ 8 w 642"/>
                <a:gd name="T29" fmla="*/ 64 h 498"/>
                <a:gd name="T30" fmla="*/ 18 w 642"/>
                <a:gd name="T31" fmla="*/ 46 h 498"/>
                <a:gd name="T32" fmla="*/ 32 w 642"/>
                <a:gd name="T33" fmla="*/ 30 h 498"/>
                <a:gd name="T34" fmla="*/ 48 w 642"/>
                <a:gd name="T35" fmla="*/ 18 h 498"/>
                <a:gd name="T36" fmla="*/ 66 w 642"/>
                <a:gd name="T37" fmla="*/ 8 h 498"/>
                <a:gd name="T38" fmla="*/ 86 w 642"/>
                <a:gd name="T39" fmla="*/ 2 h 498"/>
                <a:gd name="T40" fmla="*/ 108 w 642"/>
                <a:gd name="T41" fmla="*/ 0 h 498"/>
                <a:gd name="T42" fmla="*/ 536 w 642"/>
                <a:gd name="T43" fmla="*/ 0 h 498"/>
                <a:gd name="T44" fmla="*/ 536 w 642"/>
                <a:gd name="T45" fmla="*/ 0 h 498"/>
                <a:gd name="T46" fmla="*/ 558 w 642"/>
                <a:gd name="T47" fmla="*/ 2 h 498"/>
                <a:gd name="T48" fmla="*/ 578 w 642"/>
                <a:gd name="T49" fmla="*/ 8 h 498"/>
                <a:gd name="T50" fmla="*/ 596 w 642"/>
                <a:gd name="T51" fmla="*/ 18 h 498"/>
                <a:gd name="T52" fmla="*/ 612 w 642"/>
                <a:gd name="T53" fmla="*/ 30 h 498"/>
                <a:gd name="T54" fmla="*/ 624 w 642"/>
                <a:gd name="T55" fmla="*/ 46 h 498"/>
                <a:gd name="T56" fmla="*/ 634 w 642"/>
                <a:gd name="T57" fmla="*/ 64 h 498"/>
                <a:gd name="T58" fmla="*/ 640 w 642"/>
                <a:gd name="T59" fmla="*/ 84 h 498"/>
                <a:gd name="T60" fmla="*/ 642 w 642"/>
                <a:gd name="T61" fmla="*/ 106 h 498"/>
                <a:gd name="T62" fmla="*/ 642 w 642"/>
                <a:gd name="T63" fmla="*/ 390 h 498"/>
                <a:gd name="T64" fmla="*/ 642 w 642"/>
                <a:gd name="T65" fmla="*/ 390 h 498"/>
                <a:gd name="T66" fmla="*/ 640 w 642"/>
                <a:gd name="T67" fmla="*/ 412 h 498"/>
                <a:gd name="T68" fmla="*/ 634 w 642"/>
                <a:gd name="T69" fmla="*/ 432 h 498"/>
                <a:gd name="T70" fmla="*/ 624 w 642"/>
                <a:gd name="T71" fmla="*/ 450 h 498"/>
                <a:gd name="T72" fmla="*/ 612 w 642"/>
                <a:gd name="T73" fmla="*/ 466 h 498"/>
                <a:gd name="T74" fmla="*/ 596 w 642"/>
                <a:gd name="T75" fmla="*/ 480 h 498"/>
                <a:gd name="T76" fmla="*/ 578 w 642"/>
                <a:gd name="T77" fmla="*/ 490 h 498"/>
                <a:gd name="T78" fmla="*/ 558 w 642"/>
                <a:gd name="T79" fmla="*/ 496 h 498"/>
                <a:gd name="T80" fmla="*/ 536 w 642"/>
                <a:gd name="T81" fmla="*/ 498 h 498"/>
                <a:gd name="T82" fmla="*/ 536 w 642"/>
                <a:gd name="T83"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2" h="498">
                  <a:moveTo>
                    <a:pt x="536" y="498"/>
                  </a:moveTo>
                  <a:lnTo>
                    <a:pt x="108" y="498"/>
                  </a:lnTo>
                  <a:lnTo>
                    <a:pt x="108" y="498"/>
                  </a:lnTo>
                  <a:lnTo>
                    <a:pt x="86" y="496"/>
                  </a:lnTo>
                  <a:lnTo>
                    <a:pt x="66" y="490"/>
                  </a:lnTo>
                  <a:lnTo>
                    <a:pt x="48" y="480"/>
                  </a:lnTo>
                  <a:lnTo>
                    <a:pt x="32" y="466"/>
                  </a:lnTo>
                  <a:lnTo>
                    <a:pt x="18" y="450"/>
                  </a:lnTo>
                  <a:lnTo>
                    <a:pt x="8" y="432"/>
                  </a:lnTo>
                  <a:lnTo>
                    <a:pt x="2" y="412"/>
                  </a:lnTo>
                  <a:lnTo>
                    <a:pt x="0" y="390"/>
                  </a:lnTo>
                  <a:lnTo>
                    <a:pt x="0" y="106"/>
                  </a:lnTo>
                  <a:lnTo>
                    <a:pt x="0" y="106"/>
                  </a:lnTo>
                  <a:lnTo>
                    <a:pt x="2" y="84"/>
                  </a:lnTo>
                  <a:lnTo>
                    <a:pt x="8" y="64"/>
                  </a:lnTo>
                  <a:lnTo>
                    <a:pt x="18" y="46"/>
                  </a:lnTo>
                  <a:lnTo>
                    <a:pt x="32" y="30"/>
                  </a:lnTo>
                  <a:lnTo>
                    <a:pt x="48" y="18"/>
                  </a:lnTo>
                  <a:lnTo>
                    <a:pt x="66" y="8"/>
                  </a:lnTo>
                  <a:lnTo>
                    <a:pt x="86" y="2"/>
                  </a:lnTo>
                  <a:lnTo>
                    <a:pt x="108" y="0"/>
                  </a:lnTo>
                  <a:lnTo>
                    <a:pt x="536" y="0"/>
                  </a:lnTo>
                  <a:lnTo>
                    <a:pt x="536" y="0"/>
                  </a:lnTo>
                  <a:lnTo>
                    <a:pt x="558" y="2"/>
                  </a:lnTo>
                  <a:lnTo>
                    <a:pt x="578" y="8"/>
                  </a:lnTo>
                  <a:lnTo>
                    <a:pt x="596" y="18"/>
                  </a:lnTo>
                  <a:lnTo>
                    <a:pt x="612" y="30"/>
                  </a:lnTo>
                  <a:lnTo>
                    <a:pt x="624" y="46"/>
                  </a:lnTo>
                  <a:lnTo>
                    <a:pt x="634" y="64"/>
                  </a:lnTo>
                  <a:lnTo>
                    <a:pt x="640" y="84"/>
                  </a:lnTo>
                  <a:lnTo>
                    <a:pt x="642" y="106"/>
                  </a:lnTo>
                  <a:lnTo>
                    <a:pt x="642" y="390"/>
                  </a:lnTo>
                  <a:lnTo>
                    <a:pt x="642" y="390"/>
                  </a:lnTo>
                  <a:lnTo>
                    <a:pt x="640" y="412"/>
                  </a:lnTo>
                  <a:lnTo>
                    <a:pt x="634" y="432"/>
                  </a:lnTo>
                  <a:lnTo>
                    <a:pt x="624" y="450"/>
                  </a:lnTo>
                  <a:lnTo>
                    <a:pt x="612" y="466"/>
                  </a:lnTo>
                  <a:lnTo>
                    <a:pt x="596" y="480"/>
                  </a:lnTo>
                  <a:lnTo>
                    <a:pt x="578" y="490"/>
                  </a:lnTo>
                  <a:lnTo>
                    <a:pt x="558" y="496"/>
                  </a:lnTo>
                  <a:lnTo>
                    <a:pt x="536" y="498"/>
                  </a:lnTo>
                  <a:lnTo>
                    <a:pt x="536" y="498"/>
                  </a:lnTo>
                  <a:close/>
                </a:path>
              </a:pathLst>
            </a:custGeom>
            <a:solidFill>
              <a:srgbClr val="0078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2" name="Freeform 7">
              <a:extLst>
                <a:ext uri="{FF2B5EF4-FFF2-40B4-BE49-F238E27FC236}">
                  <a16:creationId xmlns:a16="http://schemas.microsoft.com/office/drawing/2014/main" id="{1404339F-FB6C-4B06-8713-A118396DD7B3}"/>
                </a:ext>
              </a:extLst>
            </p:cNvPr>
            <p:cNvSpPr>
              <a:spLocks noEditPoints="1"/>
            </p:cNvSpPr>
            <p:nvPr/>
          </p:nvSpPr>
          <p:spPr bwMode="auto">
            <a:xfrm>
              <a:off x="9523413" y="5940425"/>
              <a:ext cx="923925" cy="647700"/>
            </a:xfrm>
            <a:custGeom>
              <a:avLst/>
              <a:gdLst>
                <a:gd name="T0" fmla="*/ 530 w 582"/>
                <a:gd name="T1" fmla="*/ 115 h 408"/>
                <a:gd name="T2" fmla="*/ 582 w 582"/>
                <a:gd name="T3" fmla="*/ 135 h 408"/>
                <a:gd name="T4" fmla="*/ 538 w 582"/>
                <a:gd name="T5" fmla="*/ 75 h 408"/>
                <a:gd name="T6" fmla="*/ 476 w 582"/>
                <a:gd name="T7" fmla="*/ 83 h 408"/>
                <a:gd name="T8" fmla="*/ 439 w 582"/>
                <a:gd name="T9" fmla="*/ 105 h 408"/>
                <a:gd name="T10" fmla="*/ 421 w 582"/>
                <a:gd name="T11" fmla="*/ 129 h 408"/>
                <a:gd name="T12" fmla="*/ 411 w 582"/>
                <a:gd name="T13" fmla="*/ 64 h 408"/>
                <a:gd name="T14" fmla="*/ 375 w 582"/>
                <a:gd name="T15" fmla="*/ 18 h 408"/>
                <a:gd name="T16" fmla="*/ 303 w 582"/>
                <a:gd name="T17" fmla="*/ 2 h 408"/>
                <a:gd name="T18" fmla="*/ 173 w 582"/>
                <a:gd name="T19" fmla="*/ 0 h 408"/>
                <a:gd name="T20" fmla="*/ 165 w 582"/>
                <a:gd name="T21" fmla="*/ 105 h 408"/>
                <a:gd name="T22" fmla="*/ 125 w 582"/>
                <a:gd name="T23" fmla="*/ 81 h 408"/>
                <a:gd name="T24" fmla="*/ 48 w 582"/>
                <a:gd name="T25" fmla="*/ 77 h 408"/>
                <a:gd name="T26" fmla="*/ 78 w 582"/>
                <a:gd name="T27" fmla="*/ 331 h 408"/>
                <a:gd name="T28" fmla="*/ 58 w 582"/>
                <a:gd name="T29" fmla="*/ 299 h 408"/>
                <a:gd name="T30" fmla="*/ 94 w 582"/>
                <a:gd name="T31" fmla="*/ 255 h 408"/>
                <a:gd name="T32" fmla="*/ 129 w 582"/>
                <a:gd name="T33" fmla="*/ 249 h 408"/>
                <a:gd name="T34" fmla="*/ 167 w 582"/>
                <a:gd name="T35" fmla="*/ 217 h 408"/>
                <a:gd name="T36" fmla="*/ 265 w 582"/>
                <a:gd name="T37" fmla="*/ 408 h 408"/>
                <a:gd name="T38" fmla="*/ 245 w 582"/>
                <a:gd name="T39" fmla="*/ 376 h 408"/>
                <a:gd name="T40" fmla="*/ 295 w 582"/>
                <a:gd name="T41" fmla="*/ 277 h 408"/>
                <a:gd name="T42" fmla="*/ 345 w 582"/>
                <a:gd name="T43" fmla="*/ 269 h 408"/>
                <a:gd name="T44" fmla="*/ 395 w 582"/>
                <a:gd name="T45" fmla="*/ 231 h 408"/>
                <a:gd name="T46" fmla="*/ 409 w 582"/>
                <a:gd name="T47" fmla="*/ 249 h 408"/>
                <a:gd name="T48" fmla="*/ 439 w 582"/>
                <a:gd name="T49" fmla="*/ 307 h 408"/>
                <a:gd name="T50" fmla="*/ 486 w 582"/>
                <a:gd name="T51" fmla="*/ 329 h 408"/>
                <a:gd name="T52" fmla="*/ 536 w 582"/>
                <a:gd name="T53" fmla="*/ 333 h 408"/>
                <a:gd name="T54" fmla="*/ 512 w 582"/>
                <a:gd name="T55" fmla="*/ 205 h 408"/>
                <a:gd name="T56" fmla="*/ 530 w 582"/>
                <a:gd name="T57" fmla="*/ 225 h 408"/>
                <a:gd name="T58" fmla="*/ 520 w 582"/>
                <a:gd name="T59" fmla="*/ 293 h 408"/>
                <a:gd name="T60" fmla="*/ 482 w 582"/>
                <a:gd name="T61" fmla="*/ 277 h 408"/>
                <a:gd name="T62" fmla="*/ 470 w 582"/>
                <a:gd name="T63" fmla="*/ 241 h 408"/>
                <a:gd name="T64" fmla="*/ 470 w 582"/>
                <a:gd name="T65" fmla="*/ 163 h 408"/>
                <a:gd name="T66" fmla="*/ 504 w 582"/>
                <a:gd name="T67" fmla="*/ 121 h 408"/>
                <a:gd name="T68" fmla="*/ 84 w 582"/>
                <a:gd name="T69" fmla="*/ 221 h 408"/>
                <a:gd name="T70" fmla="*/ 58 w 582"/>
                <a:gd name="T71" fmla="*/ 121 h 408"/>
                <a:gd name="T72" fmla="*/ 66 w 582"/>
                <a:gd name="T73" fmla="*/ 109 h 408"/>
                <a:gd name="T74" fmla="*/ 92 w 582"/>
                <a:gd name="T75" fmla="*/ 107 h 408"/>
                <a:gd name="T76" fmla="*/ 121 w 582"/>
                <a:gd name="T77" fmla="*/ 141 h 408"/>
                <a:gd name="T78" fmla="*/ 118 w 582"/>
                <a:gd name="T79" fmla="*/ 193 h 408"/>
                <a:gd name="T80" fmla="*/ 96 w 582"/>
                <a:gd name="T81" fmla="*/ 219 h 408"/>
                <a:gd name="T82" fmla="*/ 291 w 582"/>
                <a:gd name="T83" fmla="*/ 229 h 408"/>
                <a:gd name="T84" fmla="*/ 245 w 582"/>
                <a:gd name="T85" fmla="*/ 217 h 408"/>
                <a:gd name="T86" fmla="*/ 249 w 582"/>
                <a:gd name="T87" fmla="*/ 56 h 408"/>
                <a:gd name="T88" fmla="*/ 273 w 582"/>
                <a:gd name="T89" fmla="*/ 42 h 408"/>
                <a:gd name="T90" fmla="*/ 317 w 582"/>
                <a:gd name="T91" fmla="*/ 48 h 408"/>
                <a:gd name="T92" fmla="*/ 341 w 582"/>
                <a:gd name="T93" fmla="*/ 75 h 408"/>
                <a:gd name="T94" fmla="*/ 351 w 582"/>
                <a:gd name="T95" fmla="*/ 131 h 408"/>
                <a:gd name="T96" fmla="*/ 335 w 582"/>
                <a:gd name="T97" fmla="*/ 201 h 408"/>
                <a:gd name="T98" fmla="*/ 299 w 582"/>
                <a:gd name="T99" fmla="*/ 22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2" h="408">
                  <a:moveTo>
                    <a:pt x="510" y="117"/>
                  </a:moveTo>
                  <a:lnTo>
                    <a:pt x="510" y="117"/>
                  </a:lnTo>
                  <a:lnTo>
                    <a:pt x="520" y="115"/>
                  </a:lnTo>
                  <a:lnTo>
                    <a:pt x="530" y="115"/>
                  </a:lnTo>
                  <a:lnTo>
                    <a:pt x="540" y="115"/>
                  </a:lnTo>
                  <a:lnTo>
                    <a:pt x="548" y="117"/>
                  </a:lnTo>
                  <a:lnTo>
                    <a:pt x="566" y="125"/>
                  </a:lnTo>
                  <a:lnTo>
                    <a:pt x="582" y="135"/>
                  </a:lnTo>
                  <a:lnTo>
                    <a:pt x="582" y="81"/>
                  </a:lnTo>
                  <a:lnTo>
                    <a:pt x="582" y="81"/>
                  </a:lnTo>
                  <a:lnTo>
                    <a:pt x="560" y="77"/>
                  </a:lnTo>
                  <a:lnTo>
                    <a:pt x="538" y="75"/>
                  </a:lnTo>
                  <a:lnTo>
                    <a:pt x="520" y="75"/>
                  </a:lnTo>
                  <a:lnTo>
                    <a:pt x="504" y="77"/>
                  </a:lnTo>
                  <a:lnTo>
                    <a:pt x="490" y="79"/>
                  </a:lnTo>
                  <a:lnTo>
                    <a:pt x="476" y="83"/>
                  </a:lnTo>
                  <a:lnTo>
                    <a:pt x="463" y="87"/>
                  </a:lnTo>
                  <a:lnTo>
                    <a:pt x="453" y="93"/>
                  </a:lnTo>
                  <a:lnTo>
                    <a:pt x="453" y="93"/>
                  </a:lnTo>
                  <a:lnTo>
                    <a:pt x="439" y="105"/>
                  </a:lnTo>
                  <a:lnTo>
                    <a:pt x="429" y="115"/>
                  </a:lnTo>
                  <a:lnTo>
                    <a:pt x="423" y="127"/>
                  </a:lnTo>
                  <a:lnTo>
                    <a:pt x="423" y="127"/>
                  </a:lnTo>
                  <a:lnTo>
                    <a:pt x="421" y="129"/>
                  </a:lnTo>
                  <a:lnTo>
                    <a:pt x="421" y="129"/>
                  </a:lnTo>
                  <a:lnTo>
                    <a:pt x="419" y="105"/>
                  </a:lnTo>
                  <a:lnTo>
                    <a:pt x="417" y="83"/>
                  </a:lnTo>
                  <a:lnTo>
                    <a:pt x="411" y="64"/>
                  </a:lnTo>
                  <a:lnTo>
                    <a:pt x="405" y="50"/>
                  </a:lnTo>
                  <a:lnTo>
                    <a:pt x="395" y="36"/>
                  </a:lnTo>
                  <a:lnTo>
                    <a:pt x="387" y="26"/>
                  </a:lnTo>
                  <a:lnTo>
                    <a:pt x="375" y="18"/>
                  </a:lnTo>
                  <a:lnTo>
                    <a:pt x="363" y="12"/>
                  </a:lnTo>
                  <a:lnTo>
                    <a:pt x="349" y="8"/>
                  </a:lnTo>
                  <a:lnTo>
                    <a:pt x="335" y="4"/>
                  </a:lnTo>
                  <a:lnTo>
                    <a:pt x="303" y="2"/>
                  </a:lnTo>
                  <a:lnTo>
                    <a:pt x="267" y="0"/>
                  </a:lnTo>
                  <a:lnTo>
                    <a:pt x="231" y="0"/>
                  </a:lnTo>
                  <a:lnTo>
                    <a:pt x="231" y="0"/>
                  </a:lnTo>
                  <a:lnTo>
                    <a:pt x="173" y="0"/>
                  </a:lnTo>
                  <a:lnTo>
                    <a:pt x="173" y="121"/>
                  </a:lnTo>
                  <a:lnTo>
                    <a:pt x="173" y="121"/>
                  </a:lnTo>
                  <a:lnTo>
                    <a:pt x="169" y="113"/>
                  </a:lnTo>
                  <a:lnTo>
                    <a:pt x="165" y="105"/>
                  </a:lnTo>
                  <a:lnTo>
                    <a:pt x="161" y="99"/>
                  </a:lnTo>
                  <a:lnTo>
                    <a:pt x="155" y="95"/>
                  </a:lnTo>
                  <a:lnTo>
                    <a:pt x="141" y="87"/>
                  </a:lnTo>
                  <a:lnTo>
                    <a:pt x="125" y="81"/>
                  </a:lnTo>
                  <a:lnTo>
                    <a:pt x="108" y="79"/>
                  </a:lnTo>
                  <a:lnTo>
                    <a:pt x="88" y="77"/>
                  </a:lnTo>
                  <a:lnTo>
                    <a:pt x="48" y="77"/>
                  </a:lnTo>
                  <a:lnTo>
                    <a:pt x="48" y="77"/>
                  </a:lnTo>
                  <a:lnTo>
                    <a:pt x="0" y="77"/>
                  </a:lnTo>
                  <a:lnTo>
                    <a:pt x="0" y="331"/>
                  </a:lnTo>
                  <a:lnTo>
                    <a:pt x="78" y="331"/>
                  </a:lnTo>
                  <a:lnTo>
                    <a:pt x="78" y="331"/>
                  </a:lnTo>
                  <a:lnTo>
                    <a:pt x="70" y="327"/>
                  </a:lnTo>
                  <a:lnTo>
                    <a:pt x="64" y="319"/>
                  </a:lnTo>
                  <a:lnTo>
                    <a:pt x="60" y="311"/>
                  </a:lnTo>
                  <a:lnTo>
                    <a:pt x="58" y="299"/>
                  </a:lnTo>
                  <a:lnTo>
                    <a:pt x="58" y="229"/>
                  </a:lnTo>
                  <a:lnTo>
                    <a:pt x="80" y="253"/>
                  </a:lnTo>
                  <a:lnTo>
                    <a:pt x="80" y="253"/>
                  </a:lnTo>
                  <a:lnTo>
                    <a:pt x="94" y="255"/>
                  </a:lnTo>
                  <a:lnTo>
                    <a:pt x="98" y="255"/>
                  </a:lnTo>
                  <a:lnTo>
                    <a:pt x="98" y="255"/>
                  </a:lnTo>
                  <a:lnTo>
                    <a:pt x="118" y="251"/>
                  </a:lnTo>
                  <a:lnTo>
                    <a:pt x="129" y="249"/>
                  </a:lnTo>
                  <a:lnTo>
                    <a:pt x="139" y="243"/>
                  </a:lnTo>
                  <a:lnTo>
                    <a:pt x="149" y="237"/>
                  </a:lnTo>
                  <a:lnTo>
                    <a:pt x="159" y="229"/>
                  </a:lnTo>
                  <a:lnTo>
                    <a:pt x="167" y="217"/>
                  </a:lnTo>
                  <a:lnTo>
                    <a:pt x="173" y="201"/>
                  </a:lnTo>
                  <a:lnTo>
                    <a:pt x="173" y="408"/>
                  </a:lnTo>
                  <a:lnTo>
                    <a:pt x="265" y="408"/>
                  </a:lnTo>
                  <a:lnTo>
                    <a:pt x="265" y="408"/>
                  </a:lnTo>
                  <a:lnTo>
                    <a:pt x="257" y="404"/>
                  </a:lnTo>
                  <a:lnTo>
                    <a:pt x="251" y="396"/>
                  </a:lnTo>
                  <a:lnTo>
                    <a:pt x="247" y="388"/>
                  </a:lnTo>
                  <a:lnTo>
                    <a:pt x="245" y="376"/>
                  </a:lnTo>
                  <a:lnTo>
                    <a:pt x="245" y="237"/>
                  </a:lnTo>
                  <a:lnTo>
                    <a:pt x="281" y="273"/>
                  </a:lnTo>
                  <a:lnTo>
                    <a:pt x="281" y="273"/>
                  </a:lnTo>
                  <a:lnTo>
                    <a:pt x="295" y="277"/>
                  </a:lnTo>
                  <a:lnTo>
                    <a:pt x="309" y="277"/>
                  </a:lnTo>
                  <a:lnTo>
                    <a:pt x="309" y="277"/>
                  </a:lnTo>
                  <a:lnTo>
                    <a:pt x="333" y="273"/>
                  </a:lnTo>
                  <a:lnTo>
                    <a:pt x="345" y="269"/>
                  </a:lnTo>
                  <a:lnTo>
                    <a:pt x="359" y="263"/>
                  </a:lnTo>
                  <a:lnTo>
                    <a:pt x="371" y="255"/>
                  </a:lnTo>
                  <a:lnTo>
                    <a:pt x="385" y="245"/>
                  </a:lnTo>
                  <a:lnTo>
                    <a:pt x="395" y="231"/>
                  </a:lnTo>
                  <a:lnTo>
                    <a:pt x="405" y="215"/>
                  </a:lnTo>
                  <a:lnTo>
                    <a:pt x="405" y="215"/>
                  </a:lnTo>
                  <a:lnTo>
                    <a:pt x="407" y="233"/>
                  </a:lnTo>
                  <a:lnTo>
                    <a:pt x="409" y="249"/>
                  </a:lnTo>
                  <a:lnTo>
                    <a:pt x="415" y="265"/>
                  </a:lnTo>
                  <a:lnTo>
                    <a:pt x="421" y="281"/>
                  </a:lnTo>
                  <a:lnTo>
                    <a:pt x="429" y="293"/>
                  </a:lnTo>
                  <a:lnTo>
                    <a:pt x="439" y="307"/>
                  </a:lnTo>
                  <a:lnTo>
                    <a:pt x="453" y="317"/>
                  </a:lnTo>
                  <a:lnTo>
                    <a:pt x="470" y="325"/>
                  </a:lnTo>
                  <a:lnTo>
                    <a:pt x="470" y="325"/>
                  </a:lnTo>
                  <a:lnTo>
                    <a:pt x="486" y="329"/>
                  </a:lnTo>
                  <a:lnTo>
                    <a:pt x="502" y="333"/>
                  </a:lnTo>
                  <a:lnTo>
                    <a:pt x="518" y="333"/>
                  </a:lnTo>
                  <a:lnTo>
                    <a:pt x="536" y="333"/>
                  </a:lnTo>
                  <a:lnTo>
                    <a:pt x="536" y="333"/>
                  </a:lnTo>
                  <a:lnTo>
                    <a:pt x="560" y="331"/>
                  </a:lnTo>
                  <a:lnTo>
                    <a:pt x="582" y="329"/>
                  </a:lnTo>
                  <a:lnTo>
                    <a:pt x="582" y="203"/>
                  </a:lnTo>
                  <a:lnTo>
                    <a:pt x="512" y="205"/>
                  </a:lnTo>
                  <a:lnTo>
                    <a:pt x="512" y="205"/>
                  </a:lnTo>
                  <a:lnTo>
                    <a:pt x="522" y="209"/>
                  </a:lnTo>
                  <a:lnTo>
                    <a:pt x="528" y="215"/>
                  </a:lnTo>
                  <a:lnTo>
                    <a:pt x="530" y="225"/>
                  </a:lnTo>
                  <a:lnTo>
                    <a:pt x="532" y="235"/>
                  </a:lnTo>
                  <a:lnTo>
                    <a:pt x="532" y="291"/>
                  </a:lnTo>
                  <a:lnTo>
                    <a:pt x="532" y="291"/>
                  </a:lnTo>
                  <a:lnTo>
                    <a:pt x="520" y="293"/>
                  </a:lnTo>
                  <a:lnTo>
                    <a:pt x="506" y="291"/>
                  </a:lnTo>
                  <a:lnTo>
                    <a:pt x="492" y="287"/>
                  </a:lnTo>
                  <a:lnTo>
                    <a:pt x="488" y="281"/>
                  </a:lnTo>
                  <a:lnTo>
                    <a:pt x="482" y="277"/>
                  </a:lnTo>
                  <a:lnTo>
                    <a:pt x="482" y="277"/>
                  </a:lnTo>
                  <a:lnTo>
                    <a:pt x="478" y="267"/>
                  </a:lnTo>
                  <a:lnTo>
                    <a:pt x="474" y="255"/>
                  </a:lnTo>
                  <a:lnTo>
                    <a:pt x="470" y="241"/>
                  </a:lnTo>
                  <a:lnTo>
                    <a:pt x="468" y="227"/>
                  </a:lnTo>
                  <a:lnTo>
                    <a:pt x="468" y="195"/>
                  </a:lnTo>
                  <a:lnTo>
                    <a:pt x="470" y="163"/>
                  </a:lnTo>
                  <a:lnTo>
                    <a:pt x="470" y="163"/>
                  </a:lnTo>
                  <a:lnTo>
                    <a:pt x="476" y="149"/>
                  </a:lnTo>
                  <a:lnTo>
                    <a:pt x="484" y="135"/>
                  </a:lnTo>
                  <a:lnTo>
                    <a:pt x="496" y="125"/>
                  </a:lnTo>
                  <a:lnTo>
                    <a:pt x="504" y="121"/>
                  </a:lnTo>
                  <a:lnTo>
                    <a:pt x="510" y="117"/>
                  </a:lnTo>
                  <a:lnTo>
                    <a:pt x="510" y="117"/>
                  </a:lnTo>
                  <a:close/>
                  <a:moveTo>
                    <a:pt x="84" y="221"/>
                  </a:moveTo>
                  <a:lnTo>
                    <a:pt x="84" y="221"/>
                  </a:lnTo>
                  <a:lnTo>
                    <a:pt x="72" y="219"/>
                  </a:lnTo>
                  <a:lnTo>
                    <a:pt x="64" y="217"/>
                  </a:lnTo>
                  <a:lnTo>
                    <a:pt x="58" y="211"/>
                  </a:lnTo>
                  <a:lnTo>
                    <a:pt x="58" y="121"/>
                  </a:lnTo>
                  <a:lnTo>
                    <a:pt x="58" y="121"/>
                  </a:lnTo>
                  <a:lnTo>
                    <a:pt x="60" y="115"/>
                  </a:lnTo>
                  <a:lnTo>
                    <a:pt x="62" y="111"/>
                  </a:lnTo>
                  <a:lnTo>
                    <a:pt x="66" y="109"/>
                  </a:lnTo>
                  <a:lnTo>
                    <a:pt x="72" y="107"/>
                  </a:lnTo>
                  <a:lnTo>
                    <a:pt x="72" y="107"/>
                  </a:lnTo>
                  <a:lnTo>
                    <a:pt x="84" y="105"/>
                  </a:lnTo>
                  <a:lnTo>
                    <a:pt x="92" y="107"/>
                  </a:lnTo>
                  <a:lnTo>
                    <a:pt x="100" y="111"/>
                  </a:lnTo>
                  <a:lnTo>
                    <a:pt x="110" y="117"/>
                  </a:lnTo>
                  <a:lnTo>
                    <a:pt x="116" y="125"/>
                  </a:lnTo>
                  <a:lnTo>
                    <a:pt x="121" y="141"/>
                  </a:lnTo>
                  <a:lnTo>
                    <a:pt x="123" y="161"/>
                  </a:lnTo>
                  <a:lnTo>
                    <a:pt x="123" y="161"/>
                  </a:lnTo>
                  <a:lnTo>
                    <a:pt x="123" y="179"/>
                  </a:lnTo>
                  <a:lnTo>
                    <a:pt x="118" y="193"/>
                  </a:lnTo>
                  <a:lnTo>
                    <a:pt x="114" y="205"/>
                  </a:lnTo>
                  <a:lnTo>
                    <a:pt x="108" y="211"/>
                  </a:lnTo>
                  <a:lnTo>
                    <a:pt x="102" y="217"/>
                  </a:lnTo>
                  <a:lnTo>
                    <a:pt x="96" y="219"/>
                  </a:lnTo>
                  <a:lnTo>
                    <a:pt x="84" y="221"/>
                  </a:lnTo>
                  <a:lnTo>
                    <a:pt x="84" y="221"/>
                  </a:lnTo>
                  <a:close/>
                  <a:moveTo>
                    <a:pt x="291" y="229"/>
                  </a:moveTo>
                  <a:lnTo>
                    <a:pt x="291" y="229"/>
                  </a:lnTo>
                  <a:lnTo>
                    <a:pt x="273" y="227"/>
                  </a:lnTo>
                  <a:lnTo>
                    <a:pt x="259" y="223"/>
                  </a:lnTo>
                  <a:lnTo>
                    <a:pt x="249" y="219"/>
                  </a:lnTo>
                  <a:lnTo>
                    <a:pt x="245" y="217"/>
                  </a:lnTo>
                  <a:lnTo>
                    <a:pt x="245" y="64"/>
                  </a:lnTo>
                  <a:lnTo>
                    <a:pt x="245" y="64"/>
                  </a:lnTo>
                  <a:lnTo>
                    <a:pt x="247" y="60"/>
                  </a:lnTo>
                  <a:lnTo>
                    <a:pt x="249" y="56"/>
                  </a:lnTo>
                  <a:lnTo>
                    <a:pt x="255" y="48"/>
                  </a:lnTo>
                  <a:lnTo>
                    <a:pt x="263" y="44"/>
                  </a:lnTo>
                  <a:lnTo>
                    <a:pt x="273" y="42"/>
                  </a:lnTo>
                  <a:lnTo>
                    <a:pt x="273" y="42"/>
                  </a:lnTo>
                  <a:lnTo>
                    <a:pt x="281" y="40"/>
                  </a:lnTo>
                  <a:lnTo>
                    <a:pt x="291" y="40"/>
                  </a:lnTo>
                  <a:lnTo>
                    <a:pt x="303" y="42"/>
                  </a:lnTo>
                  <a:lnTo>
                    <a:pt x="317" y="48"/>
                  </a:lnTo>
                  <a:lnTo>
                    <a:pt x="323" y="52"/>
                  </a:lnTo>
                  <a:lnTo>
                    <a:pt x="329" y="58"/>
                  </a:lnTo>
                  <a:lnTo>
                    <a:pt x="335" y="64"/>
                  </a:lnTo>
                  <a:lnTo>
                    <a:pt x="341" y="75"/>
                  </a:lnTo>
                  <a:lnTo>
                    <a:pt x="345" y="85"/>
                  </a:lnTo>
                  <a:lnTo>
                    <a:pt x="347" y="97"/>
                  </a:lnTo>
                  <a:lnTo>
                    <a:pt x="349" y="113"/>
                  </a:lnTo>
                  <a:lnTo>
                    <a:pt x="351" y="131"/>
                  </a:lnTo>
                  <a:lnTo>
                    <a:pt x="351" y="131"/>
                  </a:lnTo>
                  <a:lnTo>
                    <a:pt x="349" y="159"/>
                  </a:lnTo>
                  <a:lnTo>
                    <a:pt x="343" y="183"/>
                  </a:lnTo>
                  <a:lnTo>
                    <a:pt x="335" y="201"/>
                  </a:lnTo>
                  <a:lnTo>
                    <a:pt x="327" y="213"/>
                  </a:lnTo>
                  <a:lnTo>
                    <a:pt x="317" y="221"/>
                  </a:lnTo>
                  <a:lnTo>
                    <a:pt x="307" y="227"/>
                  </a:lnTo>
                  <a:lnTo>
                    <a:pt x="299" y="229"/>
                  </a:lnTo>
                  <a:lnTo>
                    <a:pt x="291" y="229"/>
                  </a:lnTo>
                  <a:lnTo>
                    <a:pt x="291" y="2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grpSp>
    </p:spTree>
    <p:extLst>
      <p:ext uri="{BB962C8B-B14F-4D97-AF65-F5344CB8AC3E}">
        <p14:creationId xmlns:p14="http://schemas.microsoft.com/office/powerpoint/2010/main" val="20464207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FCF16F4-34BF-4CE3-8AFC-E4D7157FA047}"/>
              </a:ext>
            </a:extLst>
          </p:cNvPr>
          <p:cNvSpPr/>
          <p:nvPr/>
        </p:nvSpPr>
        <p:spPr>
          <a:xfrm>
            <a:off x="0" y="4245541"/>
            <a:ext cx="12241085" cy="1742413"/>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AF0A535D-4205-4A32-A23B-DE60D32783E5}"/>
              </a:ext>
            </a:extLst>
          </p:cNvPr>
          <p:cNvSpPr/>
          <p:nvPr/>
        </p:nvSpPr>
        <p:spPr>
          <a:xfrm>
            <a:off x="0" y="1588116"/>
            <a:ext cx="12188825" cy="1742413"/>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D841F3A4-B413-4B55-97C8-28B9A78E6F64}"/>
              </a:ext>
            </a:extLst>
          </p:cNvPr>
          <p:cNvSpPr/>
          <p:nvPr/>
        </p:nvSpPr>
        <p:spPr>
          <a:xfrm>
            <a:off x="1" y="3906188"/>
            <a:ext cx="12188824" cy="454295"/>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A7D8952D-4678-4DAD-B0B0-43210E7090B4}"/>
              </a:ext>
            </a:extLst>
          </p:cNvPr>
          <p:cNvSpPr/>
          <p:nvPr/>
        </p:nvSpPr>
        <p:spPr>
          <a:xfrm>
            <a:off x="0" y="1463786"/>
            <a:ext cx="12188825" cy="45429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1"/>
          </p:nvPr>
        </p:nvSpPr>
        <p:spPr>
          <a:xfrm>
            <a:off x="307975" y="6496406"/>
            <a:ext cx="455637" cy="172221"/>
          </a:xfrm>
        </p:spPr>
        <p:txBody>
          <a:bodyPr/>
          <a:lstStyle/>
          <a:p>
            <a:fld id="{FD9C4343-C115-504A-8D4F-0B17318D4A48}" type="slidenum">
              <a:rPr lang="en-US" smtClean="0"/>
              <a:pPr/>
              <a:t>24</a:t>
            </a:fld>
            <a:endParaRPr lang="en-US"/>
          </a:p>
        </p:txBody>
      </p:sp>
      <p:sp>
        <p:nvSpPr>
          <p:cNvPr id="5" name="Title 4"/>
          <p:cNvSpPr>
            <a:spLocks noGrp="1"/>
          </p:cNvSpPr>
          <p:nvPr>
            <p:ph type="title"/>
          </p:nvPr>
        </p:nvSpPr>
        <p:spPr>
          <a:xfrm>
            <a:off x="312801" y="323848"/>
            <a:ext cx="11667744" cy="859536"/>
          </a:xfrm>
        </p:spPr>
        <p:txBody>
          <a:bodyPr/>
          <a:lstStyle/>
          <a:p>
            <a:r>
              <a:rPr lang="en-US"/>
              <a:t>Main substrates for coated housewares</a:t>
            </a:r>
          </a:p>
        </p:txBody>
      </p:sp>
      <p:sp>
        <p:nvSpPr>
          <p:cNvPr id="17" name="TextBox 16">
            <a:extLst>
              <a:ext uri="{FF2B5EF4-FFF2-40B4-BE49-F238E27FC236}">
                <a16:creationId xmlns:a16="http://schemas.microsoft.com/office/drawing/2014/main" id="{AE34D904-406F-40B6-BBEA-BF0210D5D37A}"/>
              </a:ext>
            </a:extLst>
          </p:cNvPr>
          <p:cNvSpPr txBox="1"/>
          <p:nvPr/>
        </p:nvSpPr>
        <p:spPr>
          <a:xfrm>
            <a:off x="6423219" y="1971126"/>
            <a:ext cx="3368482" cy="1286424"/>
          </a:xfrm>
          <a:prstGeom prst="rect">
            <a:avLst/>
          </a:prstGeom>
          <a:noFill/>
        </p:spPr>
        <p:txBody>
          <a:bodyPr wrap="square" lIns="91440" tIns="45720" rIns="91440" bIns="45720" anchor="t">
            <a:noAutofit/>
          </a:bodyPr>
          <a:lstStyle/>
          <a:p>
            <a:pPr marL="0" lvl="2">
              <a:lnSpc>
                <a:spcPct val="90000"/>
              </a:lnSpc>
              <a:spcBef>
                <a:spcPts val="600"/>
              </a:spcBef>
            </a:pPr>
            <a:r>
              <a:rPr lang="en-US"/>
              <a:t>Pressed or Forged</a:t>
            </a:r>
          </a:p>
          <a:p>
            <a:pPr marL="0" lvl="2">
              <a:lnSpc>
                <a:spcPct val="90000"/>
              </a:lnSpc>
              <a:spcBef>
                <a:spcPts val="600"/>
              </a:spcBef>
            </a:pPr>
            <a:r>
              <a:rPr lang="en-US"/>
              <a:t>Cast</a:t>
            </a:r>
          </a:p>
          <a:p>
            <a:pPr marL="0" lvl="2">
              <a:lnSpc>
                <a:spcPct val="90000"/>
              </a:lnSpc>
              <a:spcBef>
                <a:spcPts val="600"/>
              </a:spcBef>
            </a:pPr>
            <a:r>
              <a:rPr lang="en-US"/>
              <a:t>Hard anodized</a:t>
            </a:r>
          </a:p>
        </p:txBody>
      </p:sp>
      <p:sp>
        <p:nvSpPr>
          <p:cNvPr id="24" name="TextBox 23">
            <a:extLst>
              <a:ext uri="{FF2B5EF4-FFF2-40B4-BE49-F238E27FC236}">
                <a16:creationId xmlns:a16="http://schemas.microsoft.com/office/drawing/2014/main" id="{DE022E48-1B45-46F7-8DDD-68510A90656B}"/>
              </a:ext>
            </a:extLst>
          </p:cNvPr>
          <p:cNvSpPr txBox="1"/>
          <p:nvPr/>
        </p:nvSpPr>
        <p:spPr>
          <a:xfrm>
            <a:off x="6421319" y="1506267"/>
            <a:ext cx="1929486" cy="369332"/>
          </a:xfrm>
          <a:prstGeom prst="rect">
            <a:avLst/>
          </a:prstGeom>
          <a:noFill/>
        </p:spPr>
        <p:txBody>
          <a:bodyPr wrap="square">
            <a:spAutoFit/>
          </a:bodyPr>
          <a:lstStyle/>
          <a:p>
            <a:pPr marL="0" lvl="2">
              <a:lnSpc>
                <a:spcPct val="90000"/>
              </a:lnSpc>
            </a:pPr>
            <a:r>
              <a:rPr lang="en-US" sz="2000" b="1">
                <a:solidFill>
                  <a:schemeClr val="bg1"/>
                </a:solidFill>
              </a:rPr>
              <a:t>Aluminum</a:t>
            </a:r>
          </a:p>
        </p:txBody>
      </p:sp>
      <p:sp>
        <p:nvSpPr>
          <p:cNvPr id="20" name="TextBox 19">
            <a:extLst>
              <a:ext uri="{FF2B5EF4-FFF2-40B4-BE49-F238E27FC236}">
                <a16:creationId xmlns:a16="http://schemas.microsoft.com/office/drawing/2014/main" id="{60B9A0E2-335B-4310-85BC-C2B14313813A}"/>
              </a:ext>
            </a:extLst>
          </p:cNvPr>
          <p:cNvSpPr txBox="1"/>
          <p:nvPr/>
        </p:nvSpPr>
        <p:spPr>
          <a:xfrm>
            <a:off x="1358537" y="4453787"/>
            <a:ext cx="4094451" cy="1543692"/>
          </a:xfrm>
          <a:prstGeom prst="rect">
            <a:avLst/>
          </a:prstGeom>
          <a:noFill/>
        </p:spPr>
        <p:txBody>
          <a:bodyPr wrap="square" lIns="91440" tIns="45720" rIns="91440" bIns="45720" anchor="t">
            <a:noAutofit/>
          </a:bodyPr>
          <a:lstStyle>
            <a:defPPr>
              <a:defRPr lang="en-US"/>
            </a:defPPr>
            <a:lvl3pPr marL="0" lvl="2">
              <a:lnSpc>
                <a:spcPct val="90000"/>
              </a:lnSpc>
              <a:spcBef>
                <a:spcPts val="600"/>
              </a:spcBef>
            </a:lvl3pPr>
          </a:lstStyle>
          <a:p>
            <a:pPr lvl="2" algn="r"/>
            <a:r>
              <a:rPr lang="en-US"/>
              <a:t>Stainless</a:t>
            </a:r>
          </a:p>
          <a:p>
            <a:pPr lvl="2" algn="r"/>
            <a:r>
              <a:rPr lang="en-US"/>
              <a:t>Aluminized</a:t>
            </a:r>
          </a:p>
          <a:p>
            <a:pPr lvl="2" algn="r"/>
            <a:r>
              <a:rPr lang="en-US"/>
              <a:t>Tin-Free Steel (TFS)/ECCS* (for coil coated products)</a:t>
            </a:r>
            <a:endParaRPr lang="en-US">
              <a:cs typeface="Arial"/>
            </a:endParaRPr>
          </a:p>
          <a:p>
            <a:pPr lvl="2" algn="r"/>
            <a:r>
              <a:rPr lang="en-US"/>
              <a:t>Carbon</a:t>
            </a:r>
          </a:p>
          <a:p>
            <a:pPr lvl="2" algn="r"/>
            <a:endParaRPr lang="en-US"/>
          </a:p>
          <a:p>
            <a:pPr lvl="2" algn="r"/>
            <a:endParaRPr lang="en-US"/>
          </a:p>
        </p:txBody>
      </p:sp>
      <p:sp>
        <p:nvSpPr>
          <p:cNvPr id="22" name="TextBox 21">
            <a:extLst>
              <a:ext uri="{FF2B5EF4-FFF2-40B4-BE49-F238E27FC236}">
                <a16:creationId xmlns:a16="http://schemas.microsoft.com/office/drawing/2014/main" id="{2126C67B-5A89-4FC1-A582-E0E08D5900D4}"/>
              </a:ext>
            </a:extLst>
          </p:cNvPr>
          <p:cNvSpPr txBox="1"/>
          <p:nvPr/>
        </p:nvSpPr>
        <p:spPr>
          <a:xfrm>
            <a:off x="1238250" y="5881532"/>
            <a:ext cx="4214738" cy="488598"/>
          </a:xfrm>
          <a:prstGeom prst="rect">
            <a:avLst/>
          </a:prstGeom>
          <a:noFill/>
        </p:spPr>
        <p:txBody>
          <a:bodyPr wrap="square">
            <a:noAutofit/>
          </a:bodyPr>
          <a:lstStyle/>
          <a:p>
            <a:pPr marL="0" lvl="2" algn="r">
              <a:lnSpc>
                <a:spcPct val="90000"/>
              </a:lnSpc>
            </a:pPr>
            <a:endParaRPr lang="en-US"/>
          </a:p>
        </p:txBody>
      </p:sp>
      <p:sp>
        <p:nvSpPr>
          <p:cNvPr id="25" name="TextBox 24">
            <a:extLst>
              <a:ext uri="{FF2B5EF4-FFF2-40B4-BE49-F238E27FC236}">
                <a16:creationId xmlns:a16="http://schemas.microsoft.com/office/drawing/2014/main" id="{AC081464-2406-473E-86A2-996005AB1F4A}"/>
              </a:ext>
            </a:extLst>
          </p:cNvPr>
          <p:cNvSpPr txBox="1"/>
          <p:nvPr/>
        </p:nvSpPr>
        <p:spPr>
          <a:xfrm>
            <a:off x="4251278" y="3952916"/>
            <a:ext cx="1201710" cy="369332"/>
          </a:xfrm>
          <a:prstGeom prst="rect">
            <a:avLst/>
          </a:prstGeom>
          <a:noFill/>
        </p:spPr>
        <p:txBody>
          <a:bodyPr wrap="square">
            <a:spAutoFit/>
          </a:bodyPr>
          <a:lstStyle/>
          <a:p>
            <a:pPr marL="0" lvl="2" algn="r">
              <a:lnSpc>
                <a:spcPct val="90000"/>
              </a:lnSpc>
            </a:pPr>
            <a:r>
              <a:rPr lang="en-US" sz="2000" b="1">
                <a:solidFill>
                  <a:schemeClr val="bg1"/>
                </a:solidFill>
              </a:rPr>
              <a:t>Steel</a:t>
            </a:r>
          </a:p>
        </p:txBody>
      </p:sp>
      <p:pic>
        <p:nvPicPr>
          <p:cNvPr id="32" name="Picture 31" descr="A picture containing text, businesscard, envelope&#10;&#10;Description automatically generated">
            <a:extLst>
              <a:ext uri="{FF2B5EF4-FFF2-40B4-BE49-F238E27FC236}">
                <a16:creationId xmlns:a16="http://schemas.microsoft.com/office/drawing/2014/main" id="{8573A343-1FC1-4204-8889-37F7CD46B8EC}"/>
              </a:ext>
            </a:extLst>
          </p:cNvPr>
          <p:cNvPicPr>
            <a:picLocks noChangeAspect="1"/>
          </p:cNvPicPr>
          <p:nvPr/>
        </p:nvPicPr>
        <p:blipFill>
          <a:blip r:embed="rId3"/>
          <a:stretch>
            <a:fillRect/>
          </a:stretch>
        </p:blipFill>
        <p:spPr>
          <a:xfrm>
            <a:off x="312738" y="541178"/>
            <a:ext cx="6110480" cy="3437144"/>
          </a:xfrm>
          <a:prstGeom prst="rect">
            <a:avLst/>
          </a:prstGeom>
        </p:spPr>
      </p:pic>
      <p:pic>
        <p:nvPicPr>
          <p:cNvPr id="35" name="Picture 34">
            <a:extLst>
              <a:ext uri="{FF2B5EF4-FFF2-40B4-BE49-F238E27FC236}">
                <a16:creationId xmlns:a16="http://schemas.microsoft.com/office/drawing/2014/main" id="{6C920379-6EF0-435F-9A23-4ECC7CC52125}"/>
              </a:ext>
            </a:extLst>
          </p:cNvPr>
          <p:cNvPicPr>
            <a:picLocks noChangeAspect="1"/>
          </p:cNvPicPr>
          <p:nvPr/>
        </p:nvPicPr>
        <p:blipFill>
          <a:blip r:embed="rId4"/>
          <a:srcRect/>
          <a:stretch/>
        </p:blipFill>
        <p:spPr>
          <a:xfrm>
            <a:off x="5444479" y="2901661"/>
            <a:ext cx="6536384" cy="3676715"/>
          </a:xfrm>
          <a:prstGeom prst="rect">
            <a:avLst/>
          </a:prstGeom>
        </p:spPr>
      </p:pic>
      <p:sp>
        <p:nvSpPr>
          <p:cNvPr id="3" name="TextBox 2">
            <a:extLst>
              <a:ext uri="{FF2B5EF4-FFF2-40B4-BE49-F238E27FC236}">
                <a16:creationId xmlns:a16="http://schemas.microsoft.com/office/drawing/2014/main" id="{C49563F3-792F-1292-9F70-B6D8B2129417}"/>
              </a:ext>
            </a:extLst>
          </p:cNvPr>
          <p:cNvSpPr txBox="1"/>
          <p:nvPr/>
        </p:nvSpPr>
        <p:spPr>
          <a:xfrm>
            <a:off x="634481" y="6443699"/>
            <a:ext cx="6752221"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cs typeface="Arial"/>
              </a:rPr>
              <a:t>*Electrolytic Chromium Coated Steel</a:t>
            </a:r>
            <a:endParaRPr lang="en-US" sz="1200"/>
          </a:p>
        </p:txBody>
      </p:sp>
    </p:spTree>
    <p:extLst>
      <p:ext uri="{BB962C8B-B14F-4D97-AF65-F5344CB8AC3E}">
        <p14:creationId xmlns:p14="http://schemas.microsoft.com/office/powerpoint/2010/main" val="2592723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D3ABEF5-161C-40DA-B41B-667AAAFA89A2}"/>
              </a:ext>
            </a:extLst>
          </p:cNvPr>
          <p:cNvSpPr/>
          <p:nvPr/>
        </p:nvSpPr>
        <p:spPr>
          <a:xfrm>
            <a:off x="-1" y="576380"/>
            <a:ext cx="12188825" cy="1147645"/>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1"/>
          </p:nvPr>
        </p:nvSpPr>
        <p:spPr/>
        <p:txBody>
          <a:bodyPr/>
          <a:lstStyle/>
          <a:p>
            <a:fld id="{FD9C4343-C115-504A-8D4F-0B17318D4A48}" type="slidenum">
              <a:rPr lang="en-US" smtClean="0"/>
              <a:pPr/>
              <a:t>25</a:t>
            </a:fld>
            <a:endParaRPr lang="en-US"/>
          </a:p>
        </p:txBody>
      </p:sp>
      <p:sp>
        <p:nvSpPr>
          <p:cNvPr id="17" name="Rectangle 16">
            <a:extLst>
              <a:ext uri="{FF2B5EF4-FFF2-40B4-BE49-F238E27FC236}">
                <a16:creationId xmlns:a16="http://schemas.microsoft.com/office/drawing/2014/main" id="{A62B72C7-2B1D-4CBF-A1C5-E458D067CE6E}"/>
              </a:ext>
            </a:extLst>
          </p:cNvPr>
          <p:cNvSpPr/>
          <p:nvPr/>
        </p:nvSpPr>
        <p:spPr>
          <a:xfrm>
            <a:off x="0" y="167549"/>
            <a:ext cx="12188825" cy="4091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BB083E49-FD82-4F29-A875-D9D11D75221B}"/>
              </a:ext>
            </a:extLst>
          </p:cNvPr>
          <p:cNvSpPr txBox="1"/>
          <p:nvPr/>
        </p:nvSpPr>
        <p:spPr>
          <a:xfrm>
            <a:off x="2630360" y="656349"/>
            <a:ext cx="3229298" cy="313932"/>
          </a:xfrm>
          <a:prstGeom prst="rect">
            <a:avLst/>
          </a:prstGeom>
          <a:noFill/>
        </p:spPr>
        <p:txBody>
          <a:bodyPr wrap="square" lIns="91440" tIns="45720" rIns="91440" bIns="45720" anchor="t">
            <a:spAutoFit/>
          </a:bodyPr>
          <a:lstStyle>
            <a:defPPr>
              <a:defRPr lang="en-US"/>
            </a:defPPr>
            <a:lvl3pPr marL="0" lvl="2">
              <a:lnSpc>
                <a:spcPct val="90000"/>
              </a:lnSpc>
              <a:defRPr sz="1600" b="1">
                <a:solidFill>
                  <a:schemeClr val="accent1"/>
                </a:solidFill>
              </a:defRPr>
            </a:lvl3pPr>
          </a:lstStyle>
          <a:p>
            <a:pPr lvl="2"/>
            <a:r>
              <a:rPr lang="en-US">
                <a:solidFill>
                  <a:schemeClr val="accent4"/>
                </a:solidFill>
              </a:rPr>
              <a:t>Pressed or Forged</a:t>
            </a:r>
            <a:endParaRPr lang="en-US">
              <a:solidFill>
                <a:schemeClr val="accent4"/>
              </a:solidFill>
              <a:cs typeface="Arial"/>
            </a:endParaRPr>
          </a:p>
        </p:txBody>
      </p:sp>
      <p:sp>
        <p:nvSpPr>
          <p:cNvPr id="19" name="TextBox 18">
            <a:extLst>
              <a:ext uri="{FF2B5EF4-FFF2-40B4-BE49-F238E27FC236}">
                <a16:creationId xmlns:a16="http://schemas.microsoft.com/office/drawing/2014/main" id="{DD51A17B-D26D-4361-8DFB-289AA4F498F4}"/>
              </a:ext>
            </a:extLst>
          </p:cNvPr>
          <p:cNvSpPr txBox="1"/>
          <p:nvPr/>
        </p:nvSpPr>
        <p:spPr>
          <a:xfrm>
            <a:off x="2630359" y="969805"/>
            <a:ext cx="1614691" cy="313932"/>
          </a:xfrm>
          <a:prstGeom prst="rect">
            <a:avLst/>
          </a:prstGeom>
          <a:noFill/>
        </p:spPr>
        <p:txBody>
          <a:bodyPr wrap="square">
            <a:spAutoFit/>
          </a:bodyPr>
          <a:lstStyle/>
          <a:p>
            <a:pPr marL="0" lvl="2">
              <a:lnSpc>
                <a:spcPct val="90000"/>
              </a:lnSpc>
            </a:pPr>
            <a:r>
              <a:rPr lang="en-US" sz="1600">
                <a:solidFill>
                  <a:schemeClr val="bg1">
                    <a:lumMod val="75000"/>
                  </a:schemeClr>
                </a:solidFill>
              </a:rPr>
              <a:t>Cast</a:t>
            </a:r>
          </a:p>
        </p:txBody>
      </p:sp>
      <p:sp>
        <p:nvSpPr>
          <p:cNvPr id="20" name="TextBox 19">
            <a:extLst>
              <a:ext uri="{FF2B5EF4-FFF2-40B4-BE49-F238E27FC236}">
                <a16:creationId xmlns:a16="http://schemas.microsoft.com/office/drawing/2014/main" id="{4C270052-DA7B-4F08-8B02-158998AF9CF8}"/>
              </a:ext>
            </a:extLst>
          </p:cNvPr>
          <p:cNvSpPr txBox="1"/>
          <p:nvPr/>
        </p:nvSpPr>
        <p:spPr>
          <a:xfrm>
            <a:off x="2630359" y="1284970"/>
            <a:ext cx="1614691" cy="313932"/>
          </a:xfrm>
          <a:prstGeom prst="rect">
            <a:avLst/>
          </a:prstGeom>
          <a:noFill/>
        </p:spPr>
        <p:txBody>
          <a:bodyPr wrap="square">
            <a:spAutoFit/>
          </a:bodyPr>
          <a:lstStyle/>
          <a:p>
            <a:pPr marL="0" lvl="2">
              <a:lnSpc>
                <a:spcPct val="90000"/>
              </a:lnSpc>
            </a:pPr>
            <a:r>
              <a:rPr lang="en-US" sz="1600">
                <a:solidFill>
                  <a:schemeClr val="bg1">
                    <a:lumMod val="75000"/>
                  </a:schemeClr>
                </a:solidFill>
              </a:rPr>
              <a:t>Hard anodized</a:t>
            </a:r>
          </a:p>
        </p:txBody>
      </p:sp>
      <p:pic>
        <p:nvPicPr>
          <p:cNvPr id="30" name="Picture 29" descr="A picture containing text, businesscard, envelope&#10;&#10;Description automatically generated">
            <a:extLst>
              <a:ext uri="{FF2B5EF4-FFF2-40B4-BE49-F238E27FC236}">
                <a16:creationId xmlns:a16="http://schemas.microsoft.com/office/drawing/2014/main" id="{AAAE4888-A4B1-4A9C-A5B5-4263B37D3395}"/>
              </a:ext>
            </a:extLst>
          </p:cNvPr>
          <p:cNvPicPr>
            <a:picLocks noChangeAspect="1"/>
          </p:cNvPicPr>
          <p:nvPr/>
        </p:nvPicPr>
        <p:blipFill rotWithShape="1">
          <a:blip r:embed="rId3"/>
          <a:srcRect l="42355" t="11855" b="11108"/>
          <a:stretch/>
        </p:blipFill>
        <p:spPr>
          <a:xfrm>
            <a:off x="-2" y="0"/>
            <a:ext cx="2749574" cy="2066925"/>
          </a:xfrm>
          <a:prstGeom prst="rect">
            <a:avLst/>
          </a:prstGeom>
        </p:spPr>
      </p:pic>
      <p:sp>
        <p:nvSpPr>
          <p:cNvPr id="31" name="TextBox 30">
            <a:extLst>
              <a:ext uri="{FF2B5EF4-FFF2-40B4-BE49-F238E27FC236}">
                <a16:creationId xmlns:a16="http://schemas.microsoft.com/office/drawing/2014/main" id="{79C9E142-2DED-4245-BB89-455269E4F7F9}"/>
              </a:ext>
            </a:extLst>
          </p:cNvPr>
          <p:cNvSpPr txBox="1"/>
          <p:nvPr/>
        </p:nvSpPr>
        <p:spPr>
          <a:xfrm>
            <a:off x="2630359" y="192061"/>
            <a:ext cx="1839220" cy="369332"/>
          </a:xfrm>
          <a:prstGeom prst="rect">
            <a:avLst/>
          </a:prstGeom>
          <a:noFill/>
        </p:spPr>
        <p:txBody>
          <a:bodyPr wrap="square">
            <a:spAutoFit/>
          </a:bodyPr>
          <a:lstStyle/>
          <a:p>
            <a:pPr marL="0" lvl="2">
              <a:lnSpc>
                <a:spcPct val="90000"/>
              </a:lnSpc>
            </a:pPr>
            <a:r>
              <a:rPr lang="en-US" sz="2000" b="1">
                <a:solidFill>
                  <a:schemeClr val="bg1"/>
                </a:solidFill>
              </a:rPr>
              <a:t>Aluminum</a:t>
            </a:r>
          </a:p>
        </p:txBody>
      </p:sp>
      <p:sp>
        <p:nvSpPr>
          <p:cNvPr id="15" name="Content Placeholder 3">
            <a:extLst>
              <a:ext uri="{FF2B5EF4-FFF2-40B4-BE49-F238E27FC236}">
                <a16:creationId xmlns:a16="http://schemas.microsoft.com/office/drawing/2014/main" id="{DDCD1303-BC94-4371-9BDA-B4A6D3393F8F}"/>
              </a:ext>
            </a:extLst>
          </p:cNvPr>
          <p:cNvSpPr>
            <a:spLocks noGrp="1"/>
          </p:cNvSpPr>
          <p:nvPr>
            <p:ph idx="1"/>
          </p:nvPr>
        </p:nvSpPr>
        <p:spPr>
          <a:xfrm>
            <a:off x="535793" y="2358967"/>
            <a:ext cx="4839229" cy="3275293"/>
          </a:xfrm>
        </p:spPr>
        <p:txBody>
          <a:bodyPr vert="horz" lIns="0" tIns="0" rIns="0" bIns="0" rtlCol="0" anchor="t">
            <a:noAutofit/>
          </a:bodyPr>
          <a:lstStyle/>
          <a:p>
            <a:pPr marL="0" indent="0">
              <a:lnSpc>
                <a:spcPct val="90000"/>
              </a:lnSpc>
              <a:spcBef>
                <a:spcPts val="600"/>
              </a:spcBef>
              <a:buNone/>
            </a:pPr>
            <a:r>
              <a:rPr lang="en-US" sz="2000" b="1">
                <a:solidFill>
                  <a:schemeClr val="accent1"/>
                </a:solidFill>
              </a:rPr>
              <a:t>Product knowledge facts</a:t>
            </a:r>
          </a:p>
          <a:p>
            <a:pPr marL="285115" indent="-285115">
              <a:lnSpc>
                <a:spcPct val="90000"/>
              </a:lnSpc>
              <a:spcBef>
                <a:spcPts val="600"/>
              </a:spcBef>
              <a:buClr>
                <a:schemeClr val="accent4"/>
              </a:buClr>
            </a:pPr>
            <a:r>
              <a:rPr lang="en-US" sz="1800"/>
              <a:t>Aluminum is available in several different alloys, with only a few ideal for housewares.</a:t>
            </a:r>
          </a:p>
          <a:p>
            <a:pPr marL="285115" indent="-285115">
              <a:lnSpc>
                <a:spcPct val="90000"/>
              </a:lnSpc>
              <a:spcBef>
                <a:spcPts val="600"/>
              </a:spcBef>
              <a:buClr>
                <a:schemeClr val="accent4"/>
              </a:buClr>
            </a:pPr>
            <a:r>
              <a:rPr lang="en-US" sz="1800"/>
              <a:t>The majority of aluminum cookware is manufactured by pressing or forging.</a:t>
            </a:r>
          </a:p>
          <a:p>
            <a:pPr marL="285115" indent="-285115">
              <a:lnSpc>
                <a:spcPct val="90000"/>
              </a:lnSpc>
              <a:spcBef>
                <a:spcPts val="600"/>
              </a:spcBef>
              <a:buClr>
                <a:schemeClr val="accent4"/>
              </a:buClr>
            </a:pPr>
            <a:r>
              <a:rPr lang="en-US" sz="1800"/>
              <a:t>In these methods, flat sheets of rolled aluminum at the desired thickness are placed on a press. The press then forms the sheet metal into the desired shape.</a:t>
            </a:r>
          </a:p>
          <a:p>
            <a:pPr marL="285115" indent="-285115">
              <a:lnSpc>
                <a:spcPct val="90000"/>
              </a:lnSpc>
              <a:spcBef>
                <a:spcPts val="600"/>
              </a:spcBef>
              <a:buClr>
                <a:schemeClr val="accent4"/>
              </a:buClr>
            </a:pPr>
            <a:r>
              <a:rPr lang="en-US" sz="1800"/>
              <a:t>The thickness can vary from 1.8 to 5.0mm.</a:t>
            </a:r>
            <a:endParaRPr lang="en-US" sz="2000"/>
          </a:p>
        </p:txBody>
      </p:sp>
      <p:sp>
        <p:nvSpPr>
          <p:cNvPr id="16" name="Content Placeholder 3">
            <a:extLst>
              <a:ext uri="{FF2B5EF4-FFF2-40B4-BE49-F238E27FC236}">
                <a16:creationId xmlns:a16="http://schemas.microsoft.com/office/drawing/2014/main" id="{966C8241-637D-4258-8442-D77355144B43}"/>
              </a:ext>
            </a:extLst>
          </p:cNvPr>
          <p:cNvSpPr txBox="1">
            <a:spLocks/>
          </p:cNvSpPr>
          <p:nvPr/>
        </p:nvSpPr>
        <p:spPr>
          <a:xfrm>
            <a:off x="5669159" y="2358967"/>
            <a:ext cx="6172200" cy="2820529"/>
          </a:xfrm>
          <a:prstGeom prst="rect">
            <a:avLst/>
          </a:prstGeom>
        </p:spPr>
        <p:txBody>
          <a:bodyPr vert="horz" lIns="0" tIns="0" rIns="0" bIns="0" rtlCol="0" anchor="t">
            <a:no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nSpc>
                <a:spcPct val="90000"/>
              </a:lnSpc>
              <a:spcBef>
                <a:spcPts val="600"/>
              </a:spcBef>
              <a:buNone/>
            </a:pPr>
            <a:r>
              <a:rPr lang="en-US" sz="2000" b="1">
                <a:solidFill>
                  <a:schemeClr val="accent1"/>
                </a:solidFill>
              </a:rPr>
              <a:t>Important details for non-stick coating application</a:t>
            </a:r>
          </a:p>
          <a:p>
            <a:pPr marL="285115" indent="-285115">
              <a:lnSpc>
                <a:spcPct val="90000"/>
              </a:lnSpc>
              <a:spcBef>
                <a:spcPts val="600"/>
              </a:spcBef>
              <a:buClr>
                <a:schemeClr val="accent4"/>
              </a:buClr>
            </a:pPr>
            <a:r>
              <a:rPr lang="en-US" sz="1800"/>
              <a:t>Aluminum is a soft metal and will accept all surface preparation steps well.</a:t>
            </a:r>
          </a:p>
          <a:p>
            <a:pPr marL="285115" indent="-285115">
              <a:lnSpc>
                <a:spcPct val="90000"/>
              </a:lnSpc>
              <a:spcBef>
                <a:spcPts val="600"/>
              </a:spcBef>
              <a:buClr>
                <a:schemeClr val="accent4"/>
              </a:buClr>
            </a:pPr>
            <a:r>
              <a:rPr lang="en-US" sz="1800"/>
              <a:t>Proper cleaning of the surface is important.</a:t>
            </a:r>
          </a:p>
          <a:p>
            <a:pPr marL="0" indent="0">
              <a:lnSpc>
                <a:spcPct val="90000"/>
              </a:lnSpc>
              <a:spcBef>
                <a:spcPts val="600"/>
              </a:spcBef>
              <a:buFont typeface="Arial" panose="020B0604020202020204" pitchFamily="34" charset="0"/>
              <a:buNone/>
            </a:pPr>
            <a:endParaRPr lang="en-US" sz="2000"/>
          </a:p>
        </p:txBody>
      </p:sp>
    </p:spTree>
    <p:extLst>
      <p:ext uri="{BB962C8B-B14F-4D97-AF65-F5344CB8AC3E}">
        <p14:creationId xmlns:p14="http://schemas.microsoft.com/office/powerpoint/2010/main" val="3438550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FD9C4343-C115-504A-8D4F-0B17318D4A48}" type="slidenum">
              <a:rPr lang="en-US" smtClean="0"/>
              <a:pPr/>
              <a:t>26</a:t>
            </a:fld>
            <a:endParaRPr lang="en-US"/>
          </a:p>
        </p:txBody>
      </p:sp>
      <p:sp>
        <p:nvSpPr>
          <p:cNvPr id="19" name="Rectangle 18">
            <a:extLst>
              <a:ext uri="{FF2B5EF4-FFF2-40B4-BE49-F238E27FC236}">
                <a16:creationId xmlns:a16="http://schemas.microsoft.com/office/drawing/2014/main" id="{88818034-A381-4070-A8B3-FF4D92FA5720}"/>
              </a:ext>
            </a:extLst>
          </p:cNvPr>
          <p:cNvSpPr/>
          <p:nvPr/>
        </p:nvSpPr>
        <p:spPr>
          <a:xfrm>
            <a:off x="-1" y="576380"/>
            <a:ext cx="12188825" cy="1147645"/>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CBF2E65-77F3-4460-A739-43A7FDAB5B62}"/>
              </a:ext>
            </a:extLst>
          </p:cNvPr>
          <p:cNvSpPr/>
          <p:nvPr/>
        </p:nvSpPr>
        <p:spPr>
          <a:xfrm>
            <a:off x="0" y="167549"/>
            <a:ext cx="12188825" cy="4091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98F5A521-A011-4179-9BCC-E42C9DDB4E3D}"/>
              </a:ext>
            </a:extLst>
          </p:cNvPr>
          <p:cNvSpPr txBox="1"/>
          <p:nvPr/>
        </p:nvSpPr>
        <p:spPr>
          <a:xfrm>
            <a:off x="2630360" y="656349"/>
            <a:ext cx="3229298" cy="313932"/>
          </a:xfrm>
          <a:prstGeom prst="rect">
            <a:avLst/>
          </a:prstGeom>
          <a:noFill/>
        </p:spPr>
        <p:txBody>
          <a:bodyPr wrap="square" lIns="91440" tIns="45720" rIns="91440" bIns="45720" anchor="t">
            <a:spAutoFit/>
          </a:bodyPr>
          <a:lstStyle>
            <a:defPPr>
              <a:defRPr lang="en-US"/>
            </a:defPPr>
            <a:lvl3pPr marL="0" lvl="2">
              <a:lnSpc>
                <a:spcPct val="90000"/>
              </a:lnSpc>
              <a:defRPr sz="1600" b="1">
                <a:solidFill>
                  <a:schemeClr val="accent1"/>
                </a:solidFill>
              </a:defRPr>
            </a:lvl3pPr>
          </a:lstStyle>
          <a:p>
            <a:pPr lvl="2"/>
            <a:r>
              <a:rPr lang="en-US" b="0">
                <a:solidFill>
                  <a:schemeClr val="bg1">
                    <a:lumMod val="75000"/>
                  </a:schemeClr>
                </a:solidFill>
                <a:cs typeface="Arial"/>
              </a:rPr>
              <a:t>Pressed or Forged</a:t>
            </a:r>
            <a:endParaRPr lang="en-US" b="0">
              <a:solidFill>
                <a:schemeClr val="bg1">
                  <a:lumMod val="75000"/>
                </a:schemeClr>
              </a:solidFill>
            </a:endParaRPr>
          </a:p>
        </p:txBody>
      </p:sp>
      <p:sp>
        <p:nvSpPr>
          <p:cNvPr id="22" name="TextBox 21">
            <a:extLst>
              <a:ext uri="{FF2B5EF4-FFF2-40B4-BE49-F238E27FC236}">
                <a16:creationId xmlns:a16="http://schemas.microsoft.com/office/drawing/2014/main" id="{78583F27-5C4A-4D51-94C5-6D41E1972EC3}"/>
              </a:ext>
            </a:extLst>
          </p:cNvPr>
          <p:cNvSpPr txBox="1"/>
          <p:nvPr/>
        </p:nvSpPr>
        <p:spPr>
          <a:xfrm>
            <a:off x="2630359" y="969805"/>
            <a:ext cx="1614691" cy="313932"/>
          </a:xfrm>
          <a:prstGeom prst="rect">
            <a:avLst/>
          </a:prstGeom>
          <a:noFill/>
        </p:spPr>
        <p:txBody>
          <a:bodyPr wrap="square">
            <a:spAutoFit/>
          </a:bodyPr>
          <a:lstStyle/>
          <a:p>
            <a:pPr marL="0" lvl="2">
              <a:lnSpc>
                <a:spcPct val="90000"/>
              </a:lnSpc>
            </a:pPr>
            <a:r>
              <a:rPr lang="en-US" sz="1600" b="1">
                <a:solidFill>
                  <a:schemeClr val="accent4"/>
                </a:solidFill>
              </a:rPr>
              <a:t>Cast</a:t>
            </a:r>
          </a:p>
        </p:txBody>
      </p:sp>
      <p:sp>
        <p:nvSpPr>
          <p:cNvPr id="23" name="TextBox 22">
            <a:extLst>
              <a:ext uri="{FF2B5EF4-FFF2-40B4-BE49-F238E27FC236}">
                <a16:creationId xmlns:a16="http://schemas.microsoft.com/office/drawing/2014/main" id="{60DFB7EC-5198-41E1-AC13-AC9CD24F22AB}"/>
              </a:ext>
            </a:extLst>
          </p:cNvPr>
          <p:cNvSpPr txBox="1"/>
          <p:nvPr/>
        </p:nvSpPr>
        <p:spPr>
          <a:xfrm>
            <a:off x="2630359" y="1284970"/>
            <a:ext cx="1614691" cy="313932"/>
          </a:xfrm>
          <a:prstGeom prst="rect">
            <a:avLst/>
          </a:prstGeom>
          <a:noFill/>
        </p:spPr>
        <p:txBody>
          <a:bodyPr wrap="square">
            <a:spAutoFit/>
          </a:bodyPr>
          <a:lstStyle/>
          <a:p>
            <a:pPr marL="0" lvl="2">
              <a:lnSpc>
                <a:spcPct val="90000"/>
              </a:lnSpc>
            </a:pPr>
            <a:r>
              <a:rPr lang="en-US" sz="1600">
                <a:solidFill>
                  <a:schemeClr val="bg1">
                    <a:lumMod val="75000"/>
                  </a:schemeClr>
                </a:solidFill>
              </a:rPr>
              <a:t>Hard anodized</a:t>
            </a:r>
          </a:p>
        </p:txBody>
      </p:sp>
      <p:pic>
        <p:nvPicPr>
          <p:cNvPr id="26" name="Picture 25" descr="A picture containing text, businesscard, envelope&#10;&#10;Description automatically generated">
            <a:extLst>
              <a:ext uri="{FF2B5EF4-FFF2-40B4-BE49-F238E27FC236}">
                <a16:creationId xmlns:a16="http://schemas.microsoft.com/office/drawing/2014/main" id="{852700DA-F7DF-4460-A94B-F086079A814B}"/>
              </a:ext>
            </a:extLst>
          </p:cNvPr>
          <p:cNvPicPr>
            <a:picLocks noChangeAspect="1"/>
          </p:cNvPicPr>
          <p:nvPr/>
        </p:nvPicPr>
        <p:blipFill rotWithShape="1">
          <a:blip r:embed="rId3"/>
          <a:srcRect l="42355" t="11855" b="11108"/>
          <a:stretch/>
        </p:blipFill>
        <p:spPr>
          <a:xfrm>
            <a:off x="-2" y="0"/>
            <a:ext cx="2749574" cy="2066925"/>
          </a:xfrm>
          <a:prstGeom prst="rect">
            <a:avLst/>
          </a:prstGeom>
        </p:spPr>
      </p:pic>
      <p:sp>
        <p:nvSpPr>
          <p:cNvPr id="27" name="TextBox 26">
            <a:extLst>
              <a:ext uri="{FF2B5EF4-FFF2-40B4-BE49-F238E27FC236}">
                <a16:creationId xmlns:a16="http://schemas.microsoft.com/office/drawing/2014/main" id="{E4BA38C9-4A83-4FFA-B439-67591A019EA9}"/>
              </a:ext>
            </a:extLst>
          </p:cNvPr>
          <p:cNvSpPr txBox="1"/>
          <p:nvPr/>
        </p:nvSpPr>
        <p:spPr>
          <a:xfrm>
            <a:off x="2630359" y="192061"/>
            <a:ext cx="1839220" cy="369332"/>
          </a:xfrm>
          <a:prstGeom prst="rect">
            <a:avLst/>
          </a:prstGeom>
          <a:noFill/>
        </p:spPr>
        <p:txBody>
          <a:bodyPr wrap="square">
            <a:spAutoFit/>
          </a:bodyPr>
          <a:lstStyle/>
          <a:p>
            <a:pPr marL="0" lvl="2">
              <a:lnSpc>
                <a:spcPct val="90000"/>
              </a:lnSpc>
            </a:pPr>
            <a:r>
              <a:rPr lang="en-US" sz="2000" b="1">
                <a:solidFill>
                  <a:schemeClr val="bg1"/>
                </a:solidFill>
              </a:rPr>
              <a:t>Aluminum</a:t>
            </a:r>
          </a:p>
        </p:txBody>
      </p:sp>
      <p:sp>
        <p:nvSpPr>
          <p:cNvPr id="28" name="Content Placeholder 3">
            <a:extLst>
              <a:ext uri="{FF2B5EF4-FFF2-40B4-BE49-F238E27FC236}">
                <a16:creationId xmlns:a16="http://schemas.microsoft.com/office/drawing/2014/main" id="{036F1588-9602-46F6-B4C7-A9AFBE8E9F59}"/>
              </a:ext>
            </a:extLst>
          </p:cNvPr>
          <p:cNvSpPr txBox="1">
            <a:spLocks/>
          </p:cNvSpPr>
          <p:nvPr/>
        </p:nvSpPr>
        <p:spPr>
          <a:xfrm>
            <a:off x="535793" y="2358967"/>
            <a:ext cx="4839229" cy="3619074"/>
          </a:xfrm>
          <a:prstGeom prst="rect">
            <a:avLst/>
          </a:prstGeom>
        </p:spPr>
        <p:txBody>
          <a:bodyPr vert="horz" lIns="0" tIns="0" rIns="0" bIns="0" rtlCol="0" anchor="t">
            <a:no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nSpc>
                <a:spcPct val="90000"/>
              </a:lnSpc>
              <a:spcBef>
                <a:spcPts val="600"/>
              </a:spcBef>
              <a:buFont typeface="Arial" panose="020B0604020202020204" pitchFamily="34" charset="0"/>
              <a:buNone/>
            </a:pPr>
            <a:r>
              <a:rPr lang="en-US" sz="2000" b="1">
                <a:solidFill>
                  <a:schemeClr val="accent1"/>
                </a:solidFill>
              </a:rPr>
              <a:t>Product knowledge facts</a:t>
            </a:r>
          </a:p>
          <a:p>
            <a:pPr marL="285115" indent="-285115">
              <a:lnSpc>
                <a:spcPct val="90000"/>
              </a:lnSpc>
              <a:spcBef>
                <a:spcPts val="600"/>
              </a:spcBef>
              <a:buClr>
                <a:schemeClr val="accent4"/>
              </a:buClr>
            </a:pPr>
            <a:r>
              <a:rPr lang="en-US" sz="1800"/>
              <a:t>Molten aluminum is poured or injected into molds specially designed for each different cookware utensil; can be gravity cast (permanent mold) or (pressure) die-cast aluminum.</a:t>
            </a:r>
          </a:p>
          <a:p>
            <a:pPr marL="285115" indent="-285115">
              <a:lnSpc>
                <a:spcPct val="90000"/>
              </a:lnSpc>
              <a:spcBef>
                <a:spcPts val="600"/>
              </a:spcBef>
              <a:buClr>
                <a:schemeClr val="accent4"/>
              </a:buClr>
            </a:pPr>
            <a:r>
              <a:rPr lang="en-US" sz="1800"/>
              <a:t>Gravity casting is suitable for small productions and produces a purer substrate with no outgassing issues, but die casting is the most common process. </a:t>
            </a:r>
          </a:p>
          <a:p>
            <a:pPr marL="285115" indent="-285115">
              <a:lnSpc>
                <a:spcPct val="90000"/>
              </a:lnSpc>
              <a:spcBef>
                <a:spcPts val="600"/>
              </a:spcBef>
              <a:buClr>
                <a:schemeClr val="accent4"/>
              </a:buClr>
            </a:pPr>
            <a:r>
              <a:rPr lang="en-US" sz="1800"/>
              <a:t>Die casting is commonly used for intricate designs due to the pressure and speed used to inject the molten metal.</a:t>
            </a:r>
          </a:p>
        </p:txBody>
      </p:sp>
      <p:sp>
        <p:nvSpPr>
          <p:cNvPr id="29" name="Content Placeholder 3">
            <a:extLst>
              <a:ext uri="{FF2B5EF4-FFF2-40B4-BE49-F238E27FC236}">
                <a16:creationId xmlns:a16="http://schemas.microsoft.com/office/drawing/2014/main" id="{E1C190E7-CF1B-451F-BFE1-EA3F53D89FD2}"/>
              </a:ext>
            </a:extLst>
          </p:cNvPr>
          <p:cNvSpPr txBox="1">
            <a:spLocks/>
          </p:cNvSpPr>
          <p:nvPr/>
        </p:nvSpPr>
        <p:spPr>
          <a:xfrm>
            <a:off x="5669159" y="2358967"/>
            <a:ext cx="6177808" cy="3425074"/>
          </a:xfrm>
          <a:prstGeom prst="rect">
            <a:avLst/>
          </a:prstGeom>
        </p:spPr>
        <p:txBody>
          <a:bodyPr vert="horz" lIns="0" tIns="0" rIns="0" bIns="0" rtlCol="0" anchor="t">
            <a:no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nSpc>
                <a:spcPct val="90000"/>
              </a:lnSpc>
              <a:spcBef>
                <a:spcPts val="600"/>
              </a:spcBef>
              <a:buNone/>
            </a:pPr>
            <a:r>
              <a:rPr lang="en-US" sz="2000" b="1">
                <a:solidFill>
                  <a:schemeClr val="accent1"/>
                </a:solidFill>
              </a:rPr>
              <a:t>Important details for non-stick coating application</a:t>
            </a:r>
          </a:p>
          <a:p>
            <a:pPr marL="285115" indent="-285115">
              <a:lnSpc>
                <a:spcPct val="90000"/>
              </a:lnSpc>
              <a:spcBef>
                <a:spcPts val="600"/>
              </a:spcBef>
              <a:buClr>
                <a:schemeClr val="accent4"/>
              </a:buClr>
            </a:pPr>
            <a:r>
              <a:rPr lang="en-US" sz="1800"/>
              <a:t>The quality of the casting is critical to the selection and application of the non-stick coating.</a:t>
            </a:r>
          </a:p>
          <a:p>
            <a:pPr marL="285115" indent="-285115">
              <a:lnSpc>
                <a:spcPct val="90000"/>
              </a:lnSpc>
              <a:spcBef>
                <a:spcPts val="600"/>
              </a:spcBef>
              <a:buClr>
                <a:schemeClr val="accent4"/>
              </a:buClr>
            </a:pPr>
            <a:r>
              <a:rPr lang="en-US" sz="1800"/>
              <a:t>Poor casting quality can result in air pockets within the casting that can erupt during the curing process of the coating, creating ruptures in the casting surface. This may result in very high and costly rejection rates.</a:t>
            </a:r>
          </a:p>
          <a:p>
            <a:pPr marL="285115" indent="-285115">
              <a:lnSpc>
                <a:spcPct val="90000"/>
              </a:lnSpc>
              <a:spcBef>
                <a:spcPts val="600"/>
              </a:spcBef>
              <a:buClr>
                <a:schemeClr val="accent4"/>
              </a:buClr>
            </a:pPr>
            <a:r>
              <a:rPr lang="en-US" sz="1800"/>
              <a:t>For lower quality castings, if the quality cannot be improved, a low-cure coating can be used.</a:t>
            </a:r>
          </a:p>
          <a:p>
            <a:pPr marL="285115" indent="-285115">
              <a:lnSpc>
                <a:spcPct val="90000"/>
              </a:lnSpc>
              <a:spcBef>
                <a:spcPts val="600"/>
              </a:spcBef>
              <a:buClr>
                <a:schemeClr val="accent4"/>
              </a:buClr>
            </a:pPr>
            <a:r>
              <a:rPr lang="en-US" sz="1800"/>
              <a:t>Alternatives include gravity casting and slower-speed die casting.</a:t>
            </a:r>
          </a:p>
        </p:txBody>
      </p:sp>
    </p:spTree>
    <p:extLst>
      <p:ext uri="{BB962C8B-B14F-4D97-AF65-F5344CB8AC3E}">
        <p14:creationId xmlns:p14="http://schemas.microsoft.com/office/powerpoint/2010/main" val="3909655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FD9C4343-C115-504A-8D4F-0B17318D4A48}" type="slidenum">
              <a:rPr lang="en-US" smtClean="0"/>
              <a:pPr/>
              <a:t>27</a:t>
            </a:fld>
            <a:endParaRPr lang="en-US"/>
          </a:p>
        </p:txBody>
      </p:sp>
      <p:sp>
        <p:nvSpPr>
          <p:cNvPr id="4" name="Content Placeholder 3"/>
          <p:cNvSpPr>
            <a:spLocks noGrp="1"/>
          </p:cNvSpPr>
          <p:nvPr>
            <p:ph idx="1"/>
          </p:nvPr>
        </p:nvSpPr>
        <p:spPr>
          <a:xfrm>
            <a:off x="535793" y="2358967"/>
            <a:ext cx="4839229" cy="3275293"/>
          </a:xfrm>
        </p:spPr>
        <p:txBody>
          <a:bodyPr vert="horz" lIns="0" tIns="0" rIns="0" bIns="0" rtlCol="0" anchor="t">
            <a:noAutofit/>
          </a:bodyPr>
          <a:lstStyle/>
          <a:p>
            <a:pPr marL="0" indent="0">
              <a:lnSpc>
                <a:spcPct val="90000"/>
              </a:lnSpc>
              <a:spcBef>
                <a:spcPts val="600"/>
              </a:spcBef>
              <a:buNone/>
            </a:pPr>
            <a:r>
              <a:rPr lang="en-US" sz="2000" b="1">
                <a:solidFill>
                  <a:schemeClr val="accent1"/>
                </a:solidFill>
              </a:rPr>
              <a:t>Product knowledge facts</a:t>
            </a:r>
          </a:p>
          <a:p>
            <a:pPr marL="285115" indent="-285115">
              <a:lnSpc>
                <a:spcPct val="90000"/>
              </a:lnSpc>
              <a:spcBef>
                <a:spcPts val="600"/>
              </a:spcBef>
              <a:buClr>
                <a:schemeClr val="accent4"/>
              </a:buClr>
            </a:pPr>
            <a:r>
              <a:rPr lang="en-US" sz="1800"/>
              <a:t>Hard anodized aluminum is a popular substrate for higher end aluminum cookware lines.</a:t>
            </a:r>
          </a:p>
          <a:p>
            <a:pPr marL="285115" indent="-285115">
              <a:lnSpc>
                <a:spcPct val="90000"/>
              </a:lnSpc>
              <a:spcBef>
                <a:spcPts val="600"/>
              </a:spcBef>
              <a:buClr>
                <a:schemeClr val="accent4"/>
              </a:buClr>
            </a:pPr>
            <a:r>
              <a:rPr lang="en-US" sz="1800"/>
              <a:t>When anodizing aluminum, the metal is oxidized chemically and electrically, producing a very hard, smooth outer layer on the aluminum.</a:t>
            </a:r>
          </a:p>
        </p:txBody>
      </p:sp>
      <p:sp>
        <p:nvSpPr>
          <p:cNvPr id="7" name="Content Placeholder 3">
            <a:extLst>
              <a:ext uri="{FF2B5EF4-FFF2-40B4-BE49-F238E27FC236}">
                <a16:creationId xmlns:a16="http://schemas.microsoft.com/office/drawing/2014/main" id="{791969EE-077D-469E-B883-9A0BE520B4C3}"/>
              </a:ext>
            </a:extLst>
          </p:cNvPr>
          <p:cNvSpPr txBox="1">
            <a:spLocks/>
          </p:cNvSpPr>
          <p:nvPr/>
        </p:nvSpPr>
        <p:spPr>
          <a:xfrm>
            <a:off x="5681834" y="2358197"/>
            <a:ext cx="6246238" cy="4771273"/>
          </a:xfrm>
          <a:prstGeom prst="rect">
            <a:avLst/>
          </a:prstGeom>
        </p:spPr>
        <p:txBody>
          <a:bodyPr vert="horz" lIns="0" tIns="0" rIns="0" bIns="0" rtlCol="0" anchor="t">
            <a:no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nSpc>
                <a:spcPct val="90000"/>
              </a:lnSpc>
              <a:spcBef>
                <a:spcPts val="600"/>
              </a:spcBef>
              <a:buNone/>
            </a:pPr>
            <a:r>
              <a:rPr lang="en-US" sz="2000" b="1">
                <a:solidFill>
                  <a:schemeClr val="accent1"/>
                </a:solidFill>
              </a:rPr>
              <a:t>Important details for non-stick coating application</a:t>
            </a:r>
          </a:p>
          <a:p>
            <a:pPr marL="285115" indent="-285115">
              <a:lnSpc>
                <a:spcPct val="90000"/>
              </a:lnSpc>
              <a:spcBef>
                <a:spcPts val="600"/>
              </a:spcBef>
              <a:buClr>
                <a:schemeClr val="accent4"/>
              </a:buClr>
            </a:pPr>
            <a:r>
              <a:rPr lang="en-US" sz="1800"/>
              <a:t>Hard anodized treatment quality has direct influence over the coating finish, especially adhesion, gloss and appearance.</a:t>
            </a:r>
          </a:p>
          <a:p>
            <a:pPr marL="285115" indent="-285115">
              <a:lnSpc>
                <a:spcPct val="90000"/>
              </a:lnSpc>
              <a:spcBef>
                <a:spcPts val="600"/>
              </a:spcBef>
              <a:buClr>
                <a:schemeClr val="accent4"/>
              </a:buClr>
            </a:pPr>
            <a:r>
              <a:rPr lang="en-US" sz="1800"/>
              <a:t>Shallow anodizing and lesser porosity will lead to higher gloss of the coating, while deeper anodizing and higher porosity will lead to lower gloss.</a:t>
            </a:r>
          </a:p>
          <a:p>
            <a:pPr marL="285115" indent="-285115">
              <a:lnSpc>
                <a:spcPct val="90000"/>
              </a:lnSpc>
              <a:spcBef>
                <a:spcPts val="600"/>
              </a:spcBef>
              <a:buClr>
                <a:schemeClr val="accent4"/>
              </a:buClr>
            </a:pPr>
            <a:r>
              <a:rPr lang="en-US" sz="1800"/>
              <a:t>Identifying when the anodizing process is done before or after the coating is applied is important to know for both coating selection and to identify potential QC issues.</a:t>
            </a:r>
          </a:p>
          <a:p>
            <a:pPr marL="285115" indent="-285115">
              <a:lnSpc>
                <a:spcPct val="90000"/>
              </a:lnSpc>
              <a:spcBef>
                <a:spcPts val="600"/>
              </a:spcBef>
              <a:buClr>
                <a:schemeClr val="accent4"/>
              </a:buClr>
            </a:pPr>
            <a:r>
              <a:rPr lang="en-US" sz="1800"/>
              <a:t>If the coating is applied after anodizing, it is important that it is done within 24 hours, to avoid self-sealing of the anodized layer, which can result in poor coating adhesion. Note: for sol-gel 'ceramic' application, the anodizing </a:t>
            </a:r>
            <a:r>
              <a:rPr lang="en-US" sz="1800" b="1"/>
              <a:t>must </a:t>
            </a:r>
            <a:r>
              <a:rPr lang="en-US" sz="1800"/>
              <a:t>be done first over a </a:t>
            </a:r>
            <a:r>
              <a:rPr lang="en-US" sz="1800" err="1"/>
              <a:t>gritblasted</a:t>
            </a:r>
            <a:r>
              <a:rPr lang="en-US" sz="1800"/>
              <a:t> surface.</a:t>
            </a:r>
            <a:endParaRPr lang="en-US" sz="2000"/>
          </a:p>
        </p:txBody>
      </p:sp>
      <p:sp>
        <p:nvSpPr>
          <p:cNvPr id="12" name="Rectangle 11">
            <a:extLst>
              <a:ext uri="{FF2B5EF4-FFF2-40B4-BE49-F238E27FC236}">
                <a16:creationId xmlns:a16="http://schemas.microsoft.com/office/drawing/2014/main" id="{AE80366A-016E-4A43-8973-302E176FE35E}"/>
              </a:ext>
            </a:extLst>
          </p:cNvPr>
          <p:cNvSpPr/>
          <p:nvPr/>
        </p:nvSpPr>
        <p:spPr>
          <a:xfrm>
            <a:off x="-1" y="576380"/>
            <a:ext cx="12188825" cy="1147645"/>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FC92CD5-B63C-42BF-9B57-5B641404031D}"/>
              </a:ext>
            </a:extLst>
          </p:cNvPr>
          <p:cNvSpPr/>
          <p:nvPr/>
        </p:nvSpPr>
        <p:spPr>
          <a:xfrm>
            <a:off x="0" y="167549"/>
            <a:ext cx="12188825" cy="4091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C8C97BC-1916-45D9-8FAA-A0C0C648D982}"/>
              </a:ext>
            </a:extLst>
          </p:cNvPr>
          <p:cNvSpPr txBox="1"/>
          <p:nvPr/>
        </p:nvSpPr>
        <p:spPr>
          <a:xfrm>
            <a:off x="2630360" y="656349"/>
            <a:ext cx="3229298" cy="313932"/>
          </a:xfrm>
          <a:prstGeom prst="rect">
            <a:avLst/>
          </a:prstGeom>
          <a:noFill/>
        </p:spPr>
        <p:txBody>
          <a:bodyPr wrap="square" lIns="91440" tIns="45720" rIns="91440" bIns="45720" anchor="t">
            <a:spAutoFit/>
          </a:bodyPr>
          <a:lstStyle>
            <a:defPPr>
              <a:defRPr lang="en-US"/>
            </a:defPPr>
            <a:lvl3pPr marL="0" lvl="2">
              <a:lnSpc>
                <a:spcPct val="90000"/>
              </a:lnSpc>
              <a:defRPr sz="1600" b="1">
                <a:solidFill>
                  <a:schemeClr val="accent1"/>
                </a:solidFill>
              </a:defRPr>
            </a:lvl3pPr>
          </a:lstStyle>
          <a:p>
            <a:pPr lvl="2"/>
            <a:r>
              <a:rPr lang="en-US" b="0">
                <a:solidFill>
                  <a:schemeClr val="bg1">
                    <a:lumMod val="75000"/>
                  </a:schemeClr>
                </a:solidFill>
              </a:rPr>
              <a:t>Pressed or Forged</a:t>
            </a:r>
          </a:p>
        </p:txBody>
      </p:sp>
      <p:sp>
        <p:nvSpPr>
          <p:cNvPr id="15" name="TextBox 14">
            <a:extLst>
              <a:ext uri="{FF2B5EF4-FFF2-40B4-BE49-F238E27FC236}">
                <a16:creationId xmlns:a16="http://schemas.microsoft.com/office/drawing/2014/main" id="{AE572D13-85E3-4C4A-B654-1C44205F21C1}"/>
              </a:ext>
            </a:extLst>
          </p:cNvPr>
          <p:cNvSpPr txBox="1"/>
          <p:nvPr/>
        </p:nvSpPr>
        <p:spPr>
          <a:xfrm>
            <a:off x="2630359" y="969805"/>
            <a:ext cx="1614691" cy="313932"/>
          </a:xfrm>
          <a:prstGeom prst="rect">
            <a:avLst/>
          </a:prstGeom>
          <a:noFill/>
        </p:spPr>
        <p:txBody>
          <a:bodyPr wrap="square">
            <a:spAutoFit/>
          </a:bodyPr>
          <a:lstStyle/>
          <a:p>
            <a:pPr marL="0" lvl="2">
              <a:lnSpc>
                <a:spcPct val="90000"/>
              </a:lnSpc>
            </a:pPr>
            <a:r>
              <a:rPr lang="en-US" sz="1600">
                <a:solidFill>
                  <a:schemeClr val="bg1">
                    <a:lumMod val="75000"/>
                  </a:schemeClr>
                </a:solidFill>
              </a:rPr>
              <a:t>Cast</a:t>
            </a:r>
          </a:p>
        </p:txBody>
      </p:sp>
      <p:sp>
        <p:nvSpPr>
          <p:cNvPr id="16" name="TextBox 15">
            <a:extLst>
              <a:ext uri="{FF2B5EF4-FFF2-40B4-BE49-F238E27FC236}">
                <a16:creationId xmlns:a16="http://schemas.microsoft.com/office/drawing/2014/main" id="{5A974AD0-84B1-4400-BF94-4DE1AA648610}"/>
              </a:ext>
            </a:extLst>
          </p:cNvPr>
          <p:cNvSpPr txBox="1"/>
          <p:nvPr/>
        </p:nvSpPr>
        <p:spPr>
          <a:xfrm>
            <a:off x="2630359" y="1284970"/>
            <a:ext cx="1614691" cy="313932"/>
          </a:xfrm>
          <a:prstGeom prst="rect">
            <a:avLst/>
          </a:prstGeom>
          <a:noFill/>
        </p:spPr>
        <p:txBody>
          <a:bodyPr wrap="square">
            <a:spAutoFit/>
          </a:bodyPr>
          <a:lstStyle/>
          <a:p>
            <a:pPr marL="0" lvl="2">
              <a:lnSpc>
                <a:spcPct val="90000"/>
              </a:lnSpc>
            </a:pPr>
            <a:r>
              <a:rPr lang="en-US" sz="1600" b="1">
                <a:solidFill>
                  <a:schemeClr val="accent4"/>
                </a:solidFill>
              </a:rPr>
              <a:t>Hard anodized</a:t>
            </a:r>
          </a:p>
        </p:txBody>
      </p:sp>
      <p:sp>
        <p:nvSpPr>
          <p:cNvPr id="17" name="TextBox 16">
            <a:extLst>
              <a:ext uri="{FF2B5EF4-FFF2-40B4-BE49-F238E27FC236}">
                <a16:creationId xmlns:a16="http://schemas.microsoft.com/office/drawing/2014/main" id="{41C75EF4-1D4A-4438-ACFE-6FAB820D2FFB}"/>
              </a:ext>
            </a:extLst>
          </p:cNvPr>
          <p:cNvSpPr txBox="1"/>
          <p:nvPr/>
        </p:nvSpPr>
        <p:spPr>
          <a:xfrm>
            <a:off x="2630359" y="192061"/>
            <a:ext cx="1839220" cy="369332"/>
          </a:xfrm>
          <a:prstGeom prst="rect">
            <a:avLst/>
          </a:prstGeom>
          <a:noFill/>
        </p:spPr>
        <p:txBody>
          <a:bodyPr wrap="square">
            <a:spAutoFit/>
          </a:bodyPr>
          <a:lstStyle/>
          <a:p>
            <a:pPr marL="0" lvl="2">
              <a:lnSpc>
                <a:spcPct val="90000"/>
              </a:lnSpc>
            </a:pPr>
            <a:r>
              <a:rPr lang="en-US" sz="2000" b="1">
                <a:solidFill>
                  <a:schemeClr val="bg1"/>
                </a:solidFill>
              </a:rPr>
              <a:t>Aluminum</a:t>
            </a:r>
          </a:p>
        </p:txBody>
      </p:sp>
      <p:pic>
        <p:nvPicPr>
          <p:cNvPr id="18" name="Picture 17" descr="A picture containing text, businesscard, envelope&#10;&#10;Description automatically generated">
            <a:extLst>
              <a:ext uri="{FF2B5EF4-FFF2-40B4-BE49-F238E27FC236}">
                <a16:creationId xmlns:a16="http://schemas.microsoft.com/office/drawing/2014/main" id="{89E71E2D-BC6F-478C-9166-03D8208C9624}"/>
              </a:ext>
            </a:extLst>
          </p:cNvPr>
          <p:cNvPicPr>
            <a:picLocks noChangeAspect="1"/>
          </p:cNvPicPr>
          <p:nvPr/>
        </p:nvPicPr>
        <p:blipFill rotWithShape="1">
          <a:blip r:embed="rId3"/>
          <a:srcRect l="42355" t="11855" b="11108"/>
          <a:stretch/>
        </p:blipFill>
        <p:spPr>
          <a:xfrm>
            <a:off x="-2" y="0"/>
            <a:ext cx="2749574" cy="2066925"/>
          </a:xfrm>
          <a:prstGeom prst="rect">
            <a:avLst/>
          </a:prstGeom>
        </p:spPr>
      </p:pic>
    </p:spTree>
    <p:extLst>
      <p:ext uri="{BB962C8B-B14F-4D97-AF65-F5344CB8AC3E}">
        <p14:creationId xmlns:p14="http://schemas.microsoft.com/office/powerpoint/2010/main" val="7299811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0CB12554-38D6-4233-821F-1DFB73C2E3A0}"/>
              </a:ext>
            </a:extLst>
          </p:cNvPr>
          <p:cNvSpPr/>
          <p:nvPr/>
        </p:nvSpPr>
        <p:spPr>
          <a:xfrm>
            <a:off x="-1" y="576380"/>
            <a:ext cx="12188825" cy="1328620"/>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B8864592-AEC5-4A37-98B5-A6E296753B0E}"/>
              </a:ext>
            </a:extLst>
          </p:cNvPr>
          <p:cNvSpPr/>
          <p:nvPr/>
        </p:nvSpPr>
        <p:spPr>
          <a:xfrm>
            <a:off x="0" y="167549"/>
            <a:ext cx="12188825" cy="4091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1"/>
          </p:nvPr>
        </p:nvSpPr>
        <p:spPr/>
        <p:txBody>
          <a:bodyPr/>
          <a:lstStyle/>
          <a:p>
            <a:fld id="{FD9C4343-C115-504A-8D4F-0B17318D4A48}" type="slidenum">
              <a:rPr lang="en-US" smtClean="0"/>
              <a:pPr/>
              <a:t>28</a:t>
            </a:fld>
            <a:endParaRPr lang="en-US"/>
          </a:p>
        </p:txBody>
      </p:sp>
      <p:pic>
        <p:nvPicPr>
          <p:cNvPr id="14" name="Picture 13">
            <a:extLst>
              <a:ext uri="{FF2B5EF4-FFF2-40B4-BE49-F238E27FC236}">
                <a16:creationId xmlns:a16="http://schemas.microsoft.com/office/drawing/2014/main" id="{C915AA2B-DEBD-45A3-A54B-BD62C0263ADF}"/>
              </a:ext>
            </a:extLst>
          </p:cNvPr>
          <p:cNvPicPr>
            <a:picLocks noChangeAspect="1"/>
          </p:cNvPicPr>
          <p:nvPr/>
        </p:nvPicPr>
        <p:blipFill rotWithShape="1">
          <a:blip r:embed="rId3"/>
          <a:srcRect t="8853" r="48396" b="7450"/>
          <a:stretch/>
        </p:blipFill>
        <p:spPr>
          <a:xfrm flipH="1">
            <a:off x="-3" y="-106517"/>
            <a:ext cx="2701650" cy="2268605"/>
          </a:xfrm>
          <a:prstGeom prst="rect">
            <a:avLst/>
          </a:prstGeom>
        </p:spPr>
      </p:pic>
      <p:sp>
        <p:nvSpPr>
          <p:cNvPr id="15" name="TextBox 14">
            <a:extLst>
              <a:ext uri="{FF2B5EF4-FFF2-40B4-BE49-F238E27FC236}">
                <a16:creationId xmlns:a16="http://schemas.microsoft.com/office/drawing/2014/main" id="{4F579F25-9781-4EEE-B83C-9FA551006F9B}"/>
              </a:ext>
            </a:extLst>
          </p:cNvPr>
          <p:cNvSpPr txBox="1"/>
          <p:nvPr/>
        </p:nvSpPr>
        <p:spPr>
          <a:xfrm>
            <a:off x="2630361" y="658895"/>
            <a:ext cx="3229298" cy="313932"/>
          </a:xfrm>
          <a:prstGeom prst="rect">
            <a:avLst/>
          </a:prstGeom>
          <a:noFill/>
        </p:spPr>
        <p:txBody>
          <a:bodyPr wrap="square">
            <a:spAutoFit/>
          </a:bodyPr>
          <a:lstStyle>
            <a:defPPr>
              <a:defRPr lang="en-US"/>
            </a:defPPr>
            <a:lvl3pPr marL="0" lvl="2">
              <a:lnSpc>
                <a:spcPct val="90000"/>
              </a:lnSpc>
              <a:defRPr sz="1600" b="1">
                <a:solidFill>
                  <a:schemeClr val="accent1"/>
                </a:solidFill>
              </a:defRPr>
            </a:lvl3pPr>
          </a:lstStyle>
          <a:p>
            <a:pPr lvl="2"/>
            <a:r>
              <a:rPr lang="en-US">
                <a:solidFill>
                  <a:schemeClr val="accent6"/>
                </a:solidFill>
              </a:rPr>
              <a:t>Stainless</a:t>
            </a:r>
          </a:p>
        </p:txBody>
      </p:sp>
      <p:sp>
        <p:nvSpPr>
          <p:cNvPr id="16" name="TextBox 15">
            <a:extLst>
              <a:ext uri="{FF2B5EF4-FFF2-40B4-BE49-F238E27FC236}">
                <a16:creationId xmlns:a16="http://schemas.microsoft.com/office/drawing/2014/main" id="{54D7750B-9827-4EFE-96B9-0AB21FECF0DB}"/>
              </a:ext>
            </a:extLst>
          </p:cNvPr>
          <p:cNvSpPr txBox="1"/>
          <p:nvPr/>
        </p:nvSpPr>
        <p:spPr>
          <a:xfrm>
            <a:off x="2630360" y="942313"/>
            <a:ext cx="3038799" cy="313932"/>
          </a:xfrm>
          <a:prstGeom prst="rect">
            <a:avLst/>
          </a:prstGeom>
          <a:noFill/>
        </p:spPr>
        <p:txBody>
          <a:bodyPr wrap="square">
            <a:spAutoFit/>
          </a:bodyPr>
          <a:lstStyle/>
          <a:p>
            <a:pPr marL="0" lvl="2">
              <a:lnSpc>
                <a:spcPct val="90000"/>
              </a:lnSpc>
            </a:pPr>
            <a:r>
              <a:rPr lang="en-US" sz="1600">
                <a:solidFill>
                  <a:schemeClr val="bg1">
                    <a:lumMod val="75000"/>
                  </a:schemeClr>
                </a:solidFill>
              </a:rPr>
              <a:t>Aluminized (Bakeware only)</a:t>
            </a:r>
          </a:p>
        </p:txBody>
      </p:sp>
      <p:sp>
        <p:nvSpPr>
          <p:cNvPr id="17" name="TextBox 16">
            <a:extLst>
              <a:ext uri="{FF2B5EF4-FFF2-40B4-BE49-F238E27FC236}">
                <a16:creationId xmlns:a16="http://schemas.microsoft.com/office/drawing/2014/main" id="{715CB44F-306D-4041-8090-AF7FFE00F1ED}"/>
              </a:ext>
            </a:extLst>
          </p:cNvPr>
          <p:cNvSpPr txBox="1"/>
          <p:nvPr/>
        </p:nvSpPr>
        <p:spPr>
          <a:xfrm>
            <a:off x="2630360" y="196771"/>
            <a:ext cx="1839220" cy="369332"/>
          </a:xfrm>
          <a:prstGeom prst="rect">
            <a:avLst/>
          </a:prstGeom>
          <a:noFill/>
        </p:spPr>
        <p:txBody>
          <a:bodyPr wrap="square">
            <a:spAutoFit/>
          </a:bodyPr>
          <a:lstStyle/>
          <a:p>
            <a:pPr marL="0" lvl="2">
              <a:lnSpc>
                <a:spcPct val="90000"/>
              </a:lnSpc>
            </a:pPr>
            <a:r>
              <a:rPr lang="en-US" sz="2000" b="1">
                <a:solidFill>
                  <a:schemeClr val="bg1"/>
                </a:solidFill>
              </a:rPr>
              <a:t>Steel</a:t>
            </a:r>
          </a:p>
        </p:txBody>
      </p:sp>
      <p:sp>
        <p:nvSpPr>
          <p:cNvPr id="23" name="TextBox 22">
            <a:extLst>
              <a:ext uri="{FF2B5EF4-FFF2-40B4-BE49-F238E27FC236}">
                <a16:creationId xmlns:a16="http://schemas.microsoft.com/office/drawing/2014/main" id="{EDF6F870-9FE7-45D6-85D2-26C0A225A678}"/>
              </a:ext>
            </a:extLst>
          </p:cNvPr>
          <p:cNvSpPr txBox="1"/>
          <p:nvPr/>
        </p:nvSpPr>
        <p:spPr>
          <a:xfrm>
            <a:off x="2630360" y="1225731"/>
            <a:ext cx="4554211" cy="313932"/>
          </a:xfrm>
          <a:prstGeom prst="rect">
            <a:avLst/>
          </a:prstGeom>
          <a:noFill/>
        </p:spPr>
        <p:txBody>
          <a:bodyPr wrap="square">
            <a:spAutoFit/>
          </a:bodyPr>
          <a:lstStyle/>
          <a:p>
            <a:pPr marL="0" lvl="2">
              <a:lnSpc>
                <a:spcPct val="90000"/>
              </a:lnSpc>
            </a:pPr>
            <a:r>
              <a:rPr lang="en-US" sz="1600">
                <a:solidFill>
                  <a:schemeClr val="bg1">
                    <a:lumMod val="75000"/>
                  </a:schemeClr>
                </a:solidFill>
              </a:rPr>
              <a:t>TFS/ECCS(for coil coated products)</a:t>
            </a:r>
          </a:p>
        </p:txBody>
      </p:sp>
      <p:sp>
        <p:nvSpPr>
          <p:cNvPr id="24" name="TextBox 23">
            <a:extLst>
              <a:ext uri="{FF2B5EF4-FFF2-40B4-BE49-F238E27FC236}">
                <a16:creationId xmlns:a16="http://schemas.microsoft.com/office/drawing/2014/main" id="{F7A620FD-1F3F-46AA-A44E-C7B304E8388F}"/>
              </a:ext>
            </a:extLst>
          </p:cNvPr>
          <p:cNvSpPr txBox="1"/>
          <p:nvPr/>
        </p:nvSpPr>
        <p:spPr>
          <a:xfrm>
            <a:off x="2630361" y="1509150"/>
            <a:ext cx="1614691" cy="313932"/>
          </a:xfrm>
          <a:prstGeom prst="rect">
            <a:avLst/>
          </a:prstGeom>
          <a:noFill/>
        </p:spPr>
        <p:txBody>
          <a:bodyPr wrap="square">
            <a:spAutoFit/>
          </a:bodyPr>
          <a:lstStyle/>
          <a:p>
            <a:pPr marL="0" lvl="2">
              <a:lnSpc>
                <a:spcPct val="90000"/>
              </a:lnSpc>
            </a:pPr>
            <a:r>
              <a:rPr lang="en-US" sz="1600">
                <a:solidFill>
                  <a:schemeClr val="bg1">
                    <a:lumMod val="75000"/>
                  </a:schemeClr>
                </a:solidFill>
              </a:rPr>
              <a:t>Carbon</a:t>
            </a:r>
          </a:p>
        </p:txBody>
      </p:sp>
      <p:sp>
        <p:nvSpPr>
          <p:cNvPr id="29" name="Content Placeholder 3">
            <a:extLst>
              <a:ext uri="{FF2B5EF4-FFF2-40B4-BE49-F238E27FC236}">
                <a16:creationId xmlns:a16="http://schemas.microsoft.com/office/drawing/2014/main" id="{BF166612-F3A9-44BB-9EA7-E00F6A19C192}"/>
              </a:ext>
            </a:extLst>
          </p:cNvPr>
          <p:cNvSpPr txBox="1">
            <a:spLocks/>
          </p:cNvSpPr>
          <p:nvPr/>
        </p:nvSpPr>
        <p:spPr>
          <a:xfrm>
            <a:off x="535793" y="2358967"/>
            <a:ext cx="4839229" cy="3939780"/>
          </a:xfrm>
          <a:prstGeom prst="rect">
            <a:avLst/>
          </a:prstGeom>
        </p:spPr>
        <p:txBody>
          <a:bodyPr vert="horz" lIns="0" tIns="0" rIns="0" bIns="0" rtlCol="0" anchor="t">
            <a:no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nSpc>
                <a:spcPct val="90000"/>
              </a:lnSpc>
              <a:spcBef>
                <a:spcPts val="600"/>
              </a:spcBef>
              <a:buFont typeface="Arial" panose="020B0604020202020204" pitchFamily="34" charset="0"/>
              <a:buNone/>
            </a:pPr>
            <a:r>
              <a:rPr lang="en-US" sz="2000" b="1">
                <a:solidFill>
                  <a:schemeClr val="accent1"/>
                </a:solidFill>
              </a:rPr>
              <a:t>Product knowledge facts</a:t>
            </a:r>
          </a:p>
          <a:p>
            <a:pPr marL="285115" indent="-285115">
              <a:lnSpc>
                <a:spcPct val="90000"/>
              </a:lnSpc>
              <a:spcBef>
                <a:spcPts val="600"/>
              </a:spcBef>
              <a:buClr>
                <a:schemeClr val="accent6"/>
              </a:buClr>
            </a:pPr>
            <a:r>
              <a:rPr lang="en-US" sz="1800"/>
              <a:t>Stainless steel is available in several different alloys, with only a few ideal for housewares. Alloys containing at least 11% chromium are considered "stainless."</a:t>
            </a:r>
          </a:p>
          <a:p>
            <a:pPr marL="285115" indent="-285115">
              <a:lnSpc>
                <a:spcPct val="90000"/>
              </a:lnSpc>
              <a:spcBef>
                <a:spcPts val="600"/>
              </a:spcBef>
              <a:buClr>
                <a:schemeClr val="accent6"/>
              </a:buClr>
            </a:pPr>
            <a:r>
              <a:rPr lang="en-US" sz="1800"/>
              <a:t>Stainless steel cookware is exceptionally durable. It's extremely hard to dent once pressed or formed into the final article.</a:t>
            </a:r>
          </a:p>
          <a:p>
            <a:pPr marL="285115" indent="-285115">
              <a:lnSpc>
                <a:spcPct val="90000"/>
              </a:lnSpc>
              <a:spcBef>
                <a:spcPts val="600"/>
              </a:spcBef>
              <a:buClr>
                <a:schemeClr val="accent6"/>
              </a:buClr>
            </a:pPr>
            <a:r>
              <a:rPr lang="en-US" sz="1800"/>
              <a:t>If the proper alloy is selected, its attractive finish won't corrode or tarnish permanently, and the hard, tough, nonporous surface is resistant to wear.</a:t>
            </a:r>
            <a:endParaRPr lang="en-US"/>
          </a:p>
          <a:p>
            <a:pPr marL="285115" indent="-285115">
              <a:lnSpc>
                <a:spcPct val="90000"/>
              </a:lnSpc>
              <a:spcBef>
                <a:spcPts val="600"/>
              </a:spcBef>
              <a:buClr>
                <a:schemeClr val="accent6"/>
              </a:buClr>
            </a:pPr>
            <a:r>
              <a:rPr lang="en-US" sz="1800"/>
              <a:t>It is recommended to use the ANSI grading system (301, 302, 304, 430), rather than 18/0, 18/8, 18/10.</a:t>
            </a:r>
          </a:p>
          <a:p>
            <a:pPr marL="0" indent="0">
              <a:buFont typeface="Arial" panose="020B0604020202020204" pitchFamily="34" charset="0"/>
              <a:buNone/>
            </a:pPr>
            <a:endParaRPr lang="en-US"/>
          </a:p>
        </p:txBody>
      </p:sp>
      <p:sp>
        <p:nvSpPr>
          <p:cNvPr id="30" name="Content Placeholder 3">
            <a:extLst>
              <a:ext uri="{FF2B5EF4-FFF2-40B4-BE49-F238E27FC236}">
                <a16:creationId xmlns:a16="http://schemas.microsoft.com/office/drawing/2014/main" id="{6F610153-A279-4D01-BF96-9CD3533E9483}"/>
              </a:ext>
            </a:extLst>
          </p:cNvPr>
          <p:cNvSpPr txBox="1">
            <a:spLocks/>
          </p:cNvSpPr>
          <p:nvPr/>
        </p:nvSpPr>
        <p:spPr>
          <a:xfrm>
            <a:off x="5669159" y="2358967"/>
            <a:ext cx="6075166" cy="3273302"/>
          </a:xfrm>
          <a:prstGeom prst="rect">
            <a:avLst/>
          </a:prstGeom>
        </p:spPr>
        <p:txBody>
          <a:bodyPr vert="horz" lIns="0" tIns="0" rIns="0" bIns="0" rtlCol="0" anchor="t">
            <a:no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nSpc>
                <a:spcPct val="90000"/>
              </a:lnSpc>
              <a:spcBef>
                <a:spcPts val="600"/>
              </a:spcBef>
              <a:buNone/>
            </a:pPr>
            <a:r>
              <a:rPr lang="en-US" sz="2000" b="1">
                <a:solidFill>
                  <a:schemeClr val="accent1"/>
                </a:solidFill>
              </a:rPr>
              <a:t>Important details for non-stick coating application</a:t>
            </a:r>
          </a:p>
          <a:p>
            <a:pPr marL="285115" indent="-285115">
              <a:lnSpc>
                <a:spcPct val="90000"/>
              </a:lnSpc>
              <a:spcBef>
                <a:spcPts val="600"/>
              </a:spcBef>
              <a:buClr>
                <a:schemeClr val="accent6"/>
              </a:buClr>
            </a:pPr>
            <a:r>
              <a:rPr lang="en-US" sz="1800"/>
              <a:t>The preparation of stainless steel for non-stick finishes can be a complicated process. </a:t>
            </a:r>
          </a:p>
          <a:p>
            <a:pPr marL="285115" indent="-285115">
              <a:lnSpc>
                <a:spcPct val="90000"/>
              </a:lnSpc>
              <a:spcBef>
                <a:spcPts val="600"/>
              </a:spcBef>
              <a:buClr>
                <a:schemeClr val="accent6"/>
              </a:buClr>
            </a:pPr>
            <a:r>
              <a:rPr lang="en-US" sz="1800"/>
              <a:t>The very hard surface of the stainless steel </a:t>
            </a:r>
            <a:br>
              <a:rPr lang="en-US" sz="1800"/>
            </a:br>
            <a:r>
              <a:rPr lang="en-US" sz="1800"/>
              <a:t>is a poor substrate for anchoring coatings. Coatings may exhibit adhesion failure unless proper surface preparation is performed.</a:t>
            </a:r>
          </a:p>
          <a:p>
            <a:pPr marL="285115" indent="-285115">
              <a:lnSpc>
                <a:spcPct val="90000"/>
              </a:lnSpc>
              <a:spcBef>
                <a:spcPts val="600"/>
              </a:spcBef>
              <a:buClr>
                <a:schemeClr val="accent6"/>
              </a:buClr>
            </a:pPr>
            <a:r>
              <a:rPr lang="en-US" sz="1800"/>
              <a:t>The design of the pan can also impact the coating adhesion.</a:t>
            </a:r>
          </a:p>
          <a:p>
            <a:pPr marL="391795" lvl="1" indent="-169545">
              <a:lnSpc>
                <a:spcPct val="90000"/>
              </a:lnSpc>
              <a:spcBef>
                <a:spcPts val="600"/>
              </a:spcBef>
              <a:buClr>
                <a:schemeClr val="accent6"/>
              </a:buClr>
            </a:pPr>
            <a:r>
              <a:rPr lang="en-US" sz="1600"/>
              <a:t>Many stainless steel pans have a flared rim. If the surface preparation is not done properly to the full edge of the pan, chipping and peeling can occur in these areas.</a:t>
            </a:r>
          </a:p>
        </p:txBody>
      </p:sp>
    </p:spTree>
    <p:extLst>
      <p:ext uri="{BB962C8B-B14F-4D97-AF65-F5344CB8AC3E}">
        <p14:creationId xmlns:p14="http://schemas.microsoft.com/office/powerpoint/2010/main" val="40656357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FD9C4343-C115-504A-8D4F-0B17318D4A48}" type="slidenum">
              <a:rPr lang="en-US" smtClean="0"/>
              <a:pPr/>
              <a:t>29</a:t>
            </a:fld>
            <a:endParaRPr lang="en-US"/>
          </a:p>
        </p:txBody>
      </p:sp>
      <p:sp>
        <p:nvSpPr>
          <p:cNvPr id="13" name="Rectangle 12">
            <a:extLst>
              <a:ext uri="{FF2B5EF4-FFF2-40B4-BE49-F238E27FC236}">
                <a16:creationId xmlns:a16="http://schemas.microsoft.com/office/drawing/2014/main" id="{B73B1C52-0D45-4BAE-954D-D7E68948B07E}"/>
              </a:ext>
            </a:extLst>
          </p:cNvPr>
          <p:cNvSpPr/>
          <p:nvPr/>
        </p:nvSpPr>
        <p:spPr>
          <a:xfrm>
            <a:off x="-1" y="576380"/>
            <a:ext cx="12188825" cy="1328620"/>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B2EF4A5-2AEE-4C8B-989A-937C0FE74C56}"/>
              </a:ext>
            </a:extLst>
          </p:cNvPr>
          <p:cNvSpPr/>
          <p:nvPr/>
        </p:nvSpPr>
        <p:spPr>
          <a:xfrm>
            <a:off x="0" y="167549"/>
            <a:ext cx="12188825" cy="4091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8B73A7DA-0E65-4D21-80C3-262D5D9532B8}"/>
              </a:ext>
            </a:extLst>
          </p:cNvPr>
          <p:cNvSpPr txBox="1"/>
          <p:nvPr/>
        </p:nvSpPr>
        <p:spPr>
          <a:xfrm>
            <a:off x="2630361" y="658895"/>
            <a:ext cx="3229298" cy="313932"/>
          </a:xfrm>
          <a:prstGeom prst="rect">
            <a:avLst/>
          </a:prstGeom>
          <a:noFill/>
        </p:spPr>
        <p:txBody>
          <a:bodyPr wrap="square">
            <a:spAutoFit/>
          </a:bodyPr>
          <a:lstStyle>
            <a:defPPr>
              <a:defRPr lang="en-US"/>
            </a:defPPr>
            <a:lvl3pPr marL="0" lvl="2">
              <a:lnSpc>
                <a:spcPct val="90000"/>
              </a:lnSpc>
              <a:defRPr sz="1600" b="1">
                <a:solidFill>
                  <a:schemeClr val="accent1"/>
                </a:solidFill>
              </a:defRPr>
            </a:lvl3pPr>
          </a:lstStyle>
          <a:p>
            <a:pPr lvl="2"/>
            <a:r>
              <a:rPr lang="en-US" b="0">
                <a:solidFill>
                  <a:schemeClr val="bg1">
                    <a:lumMod val="75000"/>
                  </a:schemeClr>
                </a:solidFill>
              </a:rPr>
              <a:t>Stainless</a:t>
            </a:r>
          </a:p>
        </p:txBody>
      </p:sp>
      <p:sp>
        <p:nvSpPr>
          <p:cNvPr id="16" name="TextBox 15">
            <a:extLst>
              <a:ext uri="{FF2B5EF4-FFF2-40B4-BE49-F238E27FC236}">
                <a16:creationId xmlns:a16="http://schemas.microsoft.com/office/drawing/2014/main" id="{308AE76E-E156-403D-B6C3-6590C0DC2C64}"/>
              </a:ext>
            </a:extLst>
          </p:cNvPr>
          <p:cNvSpPr txBox="1"/>
          <p:nvPr/>
        </p:nvSpPr>
        <p:spPr>
          <a:xfrm>
            <a:off x="2630360" y="942313"/>
            <a:ext cx="3229299" cy="313932"/>
          </a:xfrm>
          <a:prstGeom prst="rect">
            <a:avLst/>
          </a:prstGeom>
          <a:noFill/>
        </p:spPr>
        <p:txBody>
          <a:bodyPr wrap="square">
            <a:spAutoFit/>
          </a:bodyPr>
          <a:lstStyle/>
          <a:p>
            <a:pPr marL="0" lvl="2">
              <a:lnSpc>
                <a:spcPct val="90000"/>
              </a:lnSpc>
            </a:pPr>
            <a:r>
              <a:rPr lang="en-US" sz="1600" b="1">
                <a:solidFill>
                  <a:schemeClr val="accent6"/>
                </a:solidFill>
              </a:rPr>
              <a:t>Aluminized (Bakeware only)</a:t>
            </a:r>
          </a:p>
        </p:txBody>
      </p:sp>
      <p:sp>
        <p:nvSpPr>
          <p:cNvPr id="17" name="TextBox 16">
            <a:extLst>
              <a:ext uri="{FF2B5EF4-FFF2-40B4-BE49-F238E27FC236}">
                <a16:creationId xmlns:a16="http://schemas.microsoft.com/office/drawing/2014/main" id="{B5ADC28C-6A0E-434B-93ED-70E4DBD8BD60}"/>
              </a:ext>
            </a:extLst>
          </p:cNvPr>
          <p:cNvSpPr txBox="1"/>
          <p:nvPr/>
        </p:nvSpPr>
        <p:spPr>
          <a:xfrm>
            <a:off x="2630360" y="196771"/>
            <a:ext cx="1839220" cy="369332"/>
          </a:xfrm>
          <a:prstGeom prst="rect">
            <a:avLst/>
          </a:prstGeom>
          <a:noFill/>
        </p:spPr>
        <p:txBody>
          <a:bodyPr wrap="square">
            <a:spAutoFit/>
          </a:bodyPr>
          <a:lstStyle/>
          <a:p>
            <a:pPr marL="0" lvl="2">
              <a:lnSpc>
                <a:spcPct val="90000"/>
              </a:lnSpc>
            </a:pPr>
            <a:r>
              <a:rPr lang="en-US" sz="2000" b="1">
                <a:solidFill>
                  <a:schemeClr val="bg1"/>
                </a:solidFill>
              </a:rPr>
              <a:t>Steel</a:t>
            </a:r>
          </a:p>
        </p:txBody>
      </p:sp>
      <p:sp>
        <p:nvSpPr>
          <p:cNvPr id="18" name="TextBox 17">
            <a:extLst>
              <a:ext uri="{FF2B5EF4-FFF2-40B4-BE49-F238E27FC236}">
                <a16:creationId xmlns:a16="http://schemas.microsoft.com/office/drawing/2014/main" id="{FCD12346-E7B4-4702-928E-E3CFAA6291B4}"/>
              </a:ext>
            </a:extLst>
          </p:cNvPr>
          <p:cNvSpPr txBox="1"/>
          <p:nvPr/>
        </p:nvSpPr>
        <p:spPr>
          <a:xfrm>
            <a:off x="2630360" y="1225731"/>
            <a:ext cx="4380040" cy="313932"/>
          </a:xfrm>
          <a:prstGeom prst="rect">
            <a:avLst/>
          </a:prstGeom>
          <a:noFill/>
        </p:spPr>
        <p:txBody>
          <a:bodyPr wrap="square">
            <a:spAutoFit/>
          </a:bodyPr>
          <a:lstStyle/>
          <a:p>
            <a:pPr marL="0" lvl="2">
              <a:lnSpc>
                <a:spcPct val="90000"/>
              </a:lnSpc>
            </a:pPr>
            <a:r>
              <a:rPr lang="en-US" sz="1600">
                <a:solidFill>
                  <a:schemeClr val="bg1">
                    <a:lumMod val="75000"/>
                  </a:schemeClr>
                </a:solidFill>
              </a:rPr>
              <a:t>TFS/ECCS (for coil coated products)</a:t>
            </a:r>
          </a:p>
        </p:txBody>
      </p:sp>
      <p:sp>
        <p:nvSpPr>
          <p:cNvPr id="23" name="TextBox 22">
            <a:extLst>
              <a:ext uri="{FF2B5EF4-FFF2-40B4-BE49-F238E27FC236}">
                <a16:creationId xmlns:a16="http://schemas.microsoft.com/office/drawing/2014/main" id="{446238A8-B398-4329-811F-6376060B5ED0}"/>
              </a:ext>
            </a:extLst>
          </p:cNvPr>
          <p:cNvSpPr txBox="1"/>
          <p:nvPr/>
        </p:nvSpPr>
        <p:spPr>
          <a:xfrm>
            <a:off x="2630361" y="1509150"/>
            <a:ext cx="1614691" cy="313932"/>
          </a:xfrm>
          <a:prstGeom prst="rect">
            <a:avLst/>
          </a:prstGeom>
          <a:noFill/>
        </p:spPr>
        <p:txBody>
          <a:bodyPr wrap="square">
            <a:spAutoFit/>
          </a:bodyPr>
          <a:lstStyle/>
          <a:p>
            <a:pPr marL="0" lvl="2">
              <a:lnSpc>
                <a:spcPct val="90000"/>
              </a:lnSpc>
            </a:pPr>
            <a:r>
              <a:rPr lang="en-US" sz="1600">
                <a:solidFill>
                  <a:schemeClr val="bg1">
                    <a:lumMod val="75000"/>
                  </a:schemeClr>
                </a:solidFill>
              </a:rPr>
              <a:t>Carbon</a:t>
            </a:r>
          </a:p>
        </p:txBody>
      </p:sp>
      <p:pic>
        <p:nvPicPr>
          <p:cNvPr id="26" name="Picture 25">
            <a:extLst>
              <a:ext uri="{FF2B5EF4-FFF2-40B4-BE49-F238E27FC236}">
                <a16:creationId xmlns:a16="http://schemas.microsoft.com/office/drawing/2014/main" id="{8D4A7A69-FF58-45B3-BC98-DBABC2C9A689}"/>
              </a:ext>
            </a:extLst>
          </p:cNvPr>
          <p:cNvPicPr>
            <a:picLocks noChangeAspect="1"/>
          </p:cNvPicPr>
          <p:nvPr/>
        </p:nvPicPr>
        <p:blipFill rotWithShape="1">
          <a:blip r:embed="rId3"/>
          <a:srcRect t="8853" r="48396" b="7450"/>
          <a:stretch/>
        </p:blipFill>
        <p:spPr>
          <a:xfrm flipH="1">
            <a:off x="-3" y="-106517"/>
            <a:ext cx="2701650" cy="2268605"/>
          </a:xfrm>
          <a:prstGeom prst="rect">
            <a:avLst/>
          </a:prstGeom>
        </p:spPr>
      </p:pic>
      <p:sp>
        <p:nvSpPr>
          <p:cNvPr id="30" name="Content Placeholder 3">
            <a:extLst>
              <a:ext uri="{FF2B5EF4-FFF2-40B4-BE49-F238E27FC236}">
                <a16:creationId xmlns:a16="http://schemas.microsoft.com/office/drawing/2014/main" id="{B818C2FB-6B03-43F1-8188-828703758C77}"/>
              </a:ext>
            </a:extLst>
          </p:cNvPr>
          <p:cNvSpPr>
            <a:spLocks noGrp="1"/>
          </p:cNvSpPr>
          <p:nvPr>
            <p:ph idx="1"/>
          </p:nvPr>
        </p:nvSpPr>
        <p:spPr>
          <a:xfrm>
            <a:off x="535793" y="2358967"/>
            <a:ext cx="4839229" cy="3275293"/>
          </a:xfrm>
        </p:spPr>
        <p:txBody>
          <a:bodyPr vert="horz" lIns="0" tIns="0" rIns="0" bIns="0" rtlCol="0" anchor="t">
            <a:noAutofit/>
          </a:bodyPr>
          <a:lstStyle/>
          <a:p>
            <a:pPr marL="0" indent="0">
              <a:lnSpc>
                <a:spcPct val="90000"/>
              </a:lnSpc>
              <a:spcBef>
                <a:spcPts val="600"/>
              </a:spcBef>
              <a:buNone/>
            </a:pPr>
            <a:r>
              <a:rPr lang="en-US" sz="2000" b="1">
                <a:solidFill>
                  <a:schemeClr val="accent1"/>
                </a:solidFill>
              </a:rPr>
              <a:t>Product knowledge facts</a:t>
            </a:r>
            <a:r>
              <a:rPr lang="en-US" sz="2000" b="1" baseline="30000">
                <a:solidFill>
                  <a:schemeClr val="accent1"/>
                </a:solidFill>
              </a:rPr>
              <a:t>*</a:t>
            </a:r>
            <a:endParaRPr lang="en-US" sz="1800" b="1" baseline="30000">
              <a:solidFill>
                <a:schemeClr val="accent1"/>
              </a:solidFill>
            </a:endParaRPr>
          </a:p>
          <a:p>
            <a:pPr marL="285115" indent="-285115">
              <a:lnSpc>
                <a:spcPct val="90000"/>
              </a:lnSpc>
              <a:spcBef>
                <a:spcPts val="600"/>
              </a:spcBef>
              <a:buClr>
                <a:schemeClr val="accent6"/>
              </a:buClr>
            </a:pPr>
            <a:r>
              <a:rPr lang="en-US" sz="1800"/>
              <a:t>Aluminized steel is made by coating steel with a thin layer of aluminum at high temperatures that cause it to diffuse into the steel. The aluminum layer is then oxidized to provide corrosion protection. </a:t>
            </a:r>
          </a:p>
          <a:p>
            <a:pPr marL="285115" indent="-285115">
              <a:lnSpc>
                <a:spcPct val="90000"/>
              </a:lnSpc>
              <a:spcBef>
                <a:spcPts val="600"/>
              </a:spcBef>
              <a:buClr>
                <a:schemeClr val="accent6"/>
              </a:buClr>
            </a:pPr>
            <a:r>
              <a:rPr lang="en-US" sz="1800"/>
              <a:t>This is commonly used for higher quality bakeware products.</a:t>
            </a:r>
          </a:p>
        </p:txBody>
      </p:sp>
      <p:sp>
        <p:nvSpPr>
          <p:cNvPr id="5" name="TextBox 4">
            <a:extLst>
              <a:ext uri="{FF2B5EF4-FFF2-40B4-BE49-F238E27FC236}">
                <a16:creationId xmlns:a16="http://schemas.microsoft.com/office/drawing/2014/main" id="{601F23A8-0EA6-48C2-AABE-44B9E190ACD0}"/>
              </a:ext>
            </a:extLst>
          </p:cNvPr>
          <p:cNvSpPr txBox="1"/>
          <p:nvPr/>
        </p:nvSpPr>
        <p:spPr>
          <a:xfrm>
            <a:off x="647700" y="6463280"/>
            <a:ext cx="1106393" cy="246221"/>
          </a:xfrm>
          <a:prstGeom prst="rect">
            <a:avLst/>
          </a:prstGeom>
          <a:noFill/>
        </p:spPr>
        <p:txBody>
          <a:bodyPr wrap="none" rtlCol="0">
            <a:spAutoFit/>
          </a:bodyPr>
          <a:lstStyle/>
          <a:p>
            <a:r>
              <a:rPr lang="en-US" sz="1000">
                <a:solidFill>
                  <a:schemeClr val="tx2"/>
                </a:solidFill>
              </a:rPr>
              <a:t>* Bakeware only</a:t>
            </a:r>
          </a:p>
        </p:txBody>
      </p:sp>
      <p:sp>
        <p:nvSpPr>
          <p:cNvPr id="32" name="Content Placeholder 3">
            <a:extLst>
              <a:ext uri="{FF2B5EF4-FFF2-40B4-BE49-F238E27FC236}">
                <a16:creationId xmlns:a16="http://schemas.microsoft.com/office/drawing/2014/main" id="{8043CE84-1042-4E74-AD7F-60DA0AFBB441}"/>
              </a:ext>
            </a:extLst>
          </p:cNvPr>
          <p:cNvSpPr txBox="1">
            <a:spLocks/>
          </p:cNvSpPr>
          <p:nvPr/>
        </p:nvSpPr>
        <p:spPr>
          <a:xfrm>
            <a:off x="5669159" y="2358967"/>
            <a:ext cx="6018348" cy="2820529"/>
          </a:xfrm>
          <a:prstGeom prst="rect">
            <a:avLst/>
          </a:prstGeom>
        </p:spPr>
        <p:txBody>
          <a:bodyPr vert="horz" lIns="0" tIns="0" rIns="0" bIns="0" rtlCol="0" anchor="t">
            <a:no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nSpc>
                <a:spcPct val="90000"/>
              </a:lnSpc>
              <a:spcBef>
                <a:spcPts val="600"/>
              </a:spcBef>
              <a:buNone/>
            </a:pPr>
            <a:r>
              <a:rPr lang="en-US" sz="2000" b="1">
                <a:solidFill>
                  <a:schemeClr val="accent1"/>
                </a:solidFill>
              </a:rPr>
              <a:t>Important details for non-stick coating application</a:t>
            </a:r>
            <a:r>
              <a:rPr lang="en-US" sz="2000" b="1" baseline="30000">
                <a:solidFill>
                  <a:schemeClr val="accent1"/>
                </a:solidFill>
              </a:rPr>
              <a:t>*</a:t>
            </a:r>
          </a:p>
          <a:p>
            <a:pPr marL="285115" indent="-285115">
              <a:lnSpc>
                <a:spcPct val="90000"/>
              </a:lnSpc>
              <a:spcBef>
                <a:spcPts val="600"/>
              </a:spcBef>
              <a:buClr>
                <a:schemeClr val="accent6"/>
              </a:buClr>
            </a:pPr>
            <a:r>
              <a:rPr lang="en-US" sz="1800"/>
              <a:t>Aluminized steel can accept both a chemical etch and grit-blast surface preparation. This means that both PTFE and silicone-based coatings can be applied to this substrate.</a:t>
            </a:r>
          </a:p>
          <a:p>
            <a:pPr marL="285115" indent="-285115">
              <a:lnSpc>
                <a:spcPct val="90000"/>
              </a:lnSpc>
              <a:spcBef>
                <a:spcPts val="600"/>
              </a:spcBef>
              <a:buClr>
                <a:schemeClr val="accent6"/>
              </a:buClr>
            </a:pPr>
            <a:r>
              <a:rPr lang="en-US" sz="1800"/>
              <a:t>Grit-blast preparations must be done carefully as it is possible to blast through the aluminized layer.</a:t>
            </a:r>
          </a:p>
        </p:txBody>
      </p:sp>
    </p:spTree>
    <p:extLst>
      <p:ext uri="{BB962C8B-B14F-4D97-AF65-F5344CB8AC3E}">
        <p14:creationId xmlns:p14="http://schemas.microsoft.com/office/powerpoint/2010/main" val="2771602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6E4C51-9305-4FD7-8C5D-2661E1CD22A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66956"/>
            <a:ext cx="8111529" cy="6691044"/>
          </a:xfrm>
          <a:prstGeom prst="rect">
            <a:avLst/>
          </a:prstGeom>
        </p:spPr>
      </p:pic>
      <p:grpSp>
        <p:nvGrpSpPr>
          <p:cNvPr id="22" name="Group 21">
            <a:extLst>
              <a:ext uri="{FF2B5EF4-FFF2-40B4-BE49-F238E27FC236}">
                <a16:creationId xmlns:a16="http://schemas.microsoft.com/office/drawing/2014/main" id="{3558CAF2-EA79-4E29-8760-9831A86551DA}"/>
              </a:ext>
            </a:extLst>
          </p:cNvPr>
          <p:cNvGrpSpPr/>
          <p:nvPr/>
        </p:nvGrpSpPr>
        <p:grpSpPr>
          <a:xfrm flipV="1">
            <a:off x="5412678" y="166956"/>
            <a:ext cx="6749210" cy="6691044"/>
            <a:chOff x="6026908" y="180474"/>
            <a:chExt cx="6750968" cy="6677527"/>
          </a:xfrm>
          <a:solidFill>
            <a:schemeClr val="bg1"/>
          </a:solidFill>
        </p:grpSpPr>
        <p:sp>
          <p:nvSpPr>
            <p:cNvPr id="24" name="Rectangle 23">
              <a:extLst>
                <a:ext uri="{FF2B5EF4-FFF2-40B4-BE49-F238E27FC236}">
                  <a16:creationId xmlns:a16="http://schemas.microsoft.com/office/drawing/2014/main" id="{01C187FA-DAC7-4D85-BAB7-4A0B7683EB9E}"/>
                </a:ext>
              </a:extLst>
            </p:cNvPr>
            <p:cNvSpPr/>
            <p:nvPr/>
          </p:nvSpPr>
          <p:spPr>
            <a:xfrm>
              <a:off x="7904100" y="180474"/>
              <a:ext cx="4873776" cy="667752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26" name="Right Triangle 25">
              <a:extLst>
                <a:ext uri="{FF2B5EF4-FFF2-40B4-BE49-F238E27FC236}">
                  <a16:creationId xmlns:a16="http://schemas.microsoft.com/office/drawing/2014/main" id="{D7900565-C903-4C32-80B0-C88537EBEC95}"/>
                </a:ext>
              </a:extLst>
            </p:cNvPr>
            <p:cNvSpPr/>
            <p:nvPr/>
          </p:nvSpPr>
          <p:spPr>
            <a:xfrm flipH="1">
              <a:off x="6026908" y="180475"/>
              <a:ext cx="1889867" cy="6677526"/>
            </a:xfrm>
            <a:prstGeom prst="r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grpSp>
      <p:sp>
        <p:nvSpPr>
          <p:cNvPr id="2" name="Slide Number Placeholder 1">
            <a:extLst>
              <a:ext uri="{FF2B5EF4-FFF2-40B4-BE49-F238E27FC236}">
                <a16:creationId xmlns:a16="http://schemas.microsoft.com/office/drawing/2014/main" id="{F0EBAF4E-478C-4FDD-A344-7D6A54A46036}"/>
              </a:ext>
            </a:extLst>
          </p:cNvPr>
          <p:cNvSpPr>
            <a:spLocks noGrp="1"/>
          </p:cNvSpPr>
          <p:nvPr>
            <p:ph type="sldNum" sz="quarter" idx="11"/>
          </p:nvPr>
        </p:nvSpPr>
        <p:spPr/>
        <p:txBody>
          <a:bodyPr/>
          <a:lstStyle/>
          <a:p>
            <a:fld id="{FD9C4343-C115-504A-8D4F-0B17318D4A48}" type="slidenum">
              <a:rPr lang="en-US" smtClean="0">
                <a:solidFill>
                  <a:schemeClr val="bg1"/>
                </a:solidFill>
              </a:rPr>
              <a:pPr/>
              <a:t>3</a:t>
            </a:fld>
            <a:endParaRPr lang="en-US">
              <a:solidFill>
                <a:schemeClr val="bg1"/>
              </a:solidFill>
            </a:endParaRPr>
          </a:p>
        </p:txBody>
      </p:sp>
      <p:grpSp>
        <p:nvGrpSpPr>
          <p:cNvPr id="15" name="Group 14">
            <a:extLst>
              <a:ext uri="{FF2B5EF4-FFF2-40B4-BE49-F238E27FC236}">
                <a16:creationId xmlns:a16="http://schemas.microsoft.com/office/drawing/2014/main" id="{E064ED6E-0A79-4521-828B-D5ACED6BDE53}"/>
              </a:ext>
            </a:extLst>
          </p:cNvPr>
          <p:cNvGrpSpPr/>
          <p:nvPr/>
        </p:nvGrpSpPr>
        <p:grpSpPr>
          <a:xfrm>
            <a:off x="11265884" y="6147622"/>
            <a:ext cx="664245" cy="525053"/>
            <a:chOff x="10850888" y="5174158"/>
            <a:chExt cx="664418" cy="525190"/>
          </a:xfrm>
        </p:grpSpPr>
        <p:sp>
          <p:nvSpPr>
            <p:cNvPr id="17" name="Freeform: Shape 16">
              <a:extLst>
                <a:ext uri="{FF2B5EF4-FFF2-40B4-BE49-F238E27FC236}">
                  <a16:creationId xmlns:a16="http://schemas.microsoft.com/office/drawing/2014/main" id="{9308D57E-A102-4E78-9DE1-7662B024C165}"/>
                </a:ext>
              </a:extLst>
            </p:cNvPr>
            <p:cNvSpPr/>
            <p:nvPr/>
          </p:nvSpPr>
          <p:spPr>
            <a:xfrm>
              <a:off x="10850888" y="5174158"/>
              <a:ext cx="664418" cy="525190"/>
            </a:xfrm>
            <a:custGeom>
              <a:avLst/>
              <a:gdLst>
                <a:gd name="connsiteX0" fmla="*/ 538546 w 664418"/>
                <a:gd name="connsiteY0" fmla="*/ 525191 h 525190"/>
                <a:gd name="connsiteX1" fmla="*/ 125872 w 664418"/>
                <a:gd name="connsiteY1" fmla="*/ 525191 h 525190"/>
                <a:gd name="connsiteX2" fmla="*/ 0 w 664418"/>
                <a:gd name="connsiteY2" fmla="*/ 399319 h 525190"/>
                <a:gd name="connsiteX3" fmla="*/ 0 w 664418"/>
                <a:gd name="connsiteY3" fmla="*/ 125872 h 525190"/>
                <a:gd name="connsiteX4" fmla="*/ 125872 w 664418"/>
                <a:gd name="connsiteY4" fmla="*/ 0 h 525190"/>
                <a:gd name="connsiteX5" fmla="*/ 538546 w 664418"/>
                <a:gd name="connsiteY5" fmla="*/ 0 h 525190"/>
                <a:gd name="connsiteX6" fmla="*/ 664418 w 664418"/>
                <a:gd name="connsiteY6" fmla="*/ 125872 h 525190"/>
                <a:gd name="connsiteX7" fmla="*/ 664418 w 664418"/>
                <a:gd name="connsiteY7" fmla="*/ 399319 h 525190"/>
                <a:gd name="connsiteX8" fmla="*/ 538546 w 664418"/>
                <a:gd name="connsiteY8" fmla="*/ 525191 h 52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418" h="525190">
                  <a:moveTo>
                    <a:pt x="538546" y="525191"/>
                  </a:moveTo>
                  <a:lnTo>
                    <a:pt x="125872" y="525191"/>
                  </a:lnTo>
                  <a:cubicBezTo>
                    <a:pt x="56425" y="525191"/>
                    <a:pt x="0" y="468765"/>
                    <a:pt x="0" y="399319"/>
                  </a:cubicBezTo>
                  <a:lnTo>
                    <a:pt x="0" y="125872"/>
                  </a:lnTo>
                  <a:cubicBezTo>
                    <a:pt x="0" y="56425"/>
                    <a:pt x="56425" y="0"/>
                    <a:pt x="125872" y="0"/>
                  </a:cubicBezTo>
                  <a:lnTo>
                    <a:pt x="538546" y="0"/>
                  </a:lnTo>
                  <a:cubicBezTo>
                    <a:pt x="607993" y="0"/>
                    <a:pt x="664418" y="56425"/>
                    <a:pt x="664418" y="125872"/>
                  </a:cubicBezTo>
                  <a:lnTo>
                    <a:pt x="664418" y="399319"/>
                  </a:lnTo>
                  <a:cubicBezTo>
                    <a:pt x="664418" y="468765"/>
                    <a:pt x="607993" y="525191"/>
                    <a:pt x="538546" y="525191"/>
                  </a:cubicBezTo>
                  <a:close/>
                </a:path>
              </a:pathLst>
            </a:custGeom>
            <a:solidFill>
              <a:srgbClr val="FFFFFF"/>
            </a:solidFill>
            <a:ln w="3303" cap="flat">
              <a:noFill/>
              <a:prstDash val="solid"/>
              <a:miter/>
            </a:ln>
          </p:spPr>
          <p:txBody>
            <a:bodyPr rtlCol="0" anchor="ctr"/>
            <a:lstStyle/>
            <a:p>
              <a:endParaRPr lang="en-US" sz="1799"/>
            </a:p>
          </p:txBody>
        </p:sp>
        <p:sp>
          <p:nvSpPr>
            <p:cNvPr id="18" name="Freeform: Shape 17">
              <a:extLst>
                <a:ext uri="{FF2B5EF4-FFF2-40B4-BE49-F238E27FC236}">
                  <a16:creationId xmlns:a16="http://schemas.microsoft.com/office/drawing/2014/main" id="{6A91EF6A-8012-43E0-9037-0CFC054792FF}"/>
                </a:ext>
              </a:extLst>
            </p:cNvPr>
            <p:cNvSpPr/>
            <p:nvPr/>
          </p:nvSpPr>
          <p:spPr>
            <a:xfrm>
              <a:off x="10873257" y="5196527"/>
              <a:ext cx="619680" cy="480450"/>
            </a:xfrm>
            <a:custGeom>
              <a:avLst/>
              <a:gdLst>
                <a:gd name="connsiteX0" fmla="*/ 516176 w 619680"/>
                <a:gd name="connsiteY0" fmla="*/ 480451 h 480450"/>
                <a:gd name="connsiteX1" fmla="*/ 103502 w 619680"/>
                <a:gd name="connsiteY1" fmla="*/ 480451 h 480450"/>
                <a:gd name="connsiteX2" fmla="*/ 0 w 619680"/>
                <a:gd name="connsiteY2" fmla="*/ 376949 h 480450"/>
                <a:gd name="connsiteX3" fmla="*/ 0 w 619680"/>
                <a:gd name="connsiteY3" fmla="*/ 103502 h 480450"/>
                <a:gd name="connsiteX4" fmla="*/ 103502 w 619680"/>
                <a:gd name="connsiteY4" fmla="*/ 0 h 480450"/>
                <a:gd name="connsiteX5" fmla="*/ 516176 w 619680"/>
                <a:gd name="connsiteY5" fmla="*/ 0 h 480450"/>
                <a:gd name="connsiteX6" fmla="*/ 619678 w 619680"/>
                <a:gd name="connsiteY6" fmla="*/ 103502 h 480450"/>
                <a:gd name="connsiteX7" fmla="*/ 619678 w 619680"/>
                <a:gd name="connsiteY7" fmla="*/ 376949 h 480450"/>
                <a:gd name="connsiteX8" fmla="*/ 516176 w 619680"/>
                <a:gd name="connsiteY8" fmla="*/ 480451 h 4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680" h="480450">
                  <a:moveTo>
                    <a:pt x="516176" y="480451"/>
                  </a:moveTo>
                  <a:lnTo>
                    <a:pt x="103502" y="480451"/>
                  </a:lnTo>
                  <a:cubicBezTo>
                    <a:pt x="46409" y="480451"/>
                    <a:pt x="0" y="433708"/>
                    <a:pt x="0" y="376949"/>
                  </a:cubicBezTo>
                  <a:lnTo>
                    <a:pt x="0" y="103502"/>
                  </a:lnTo>
                  <a:cubicBezTo>
                    <a:pt x="0" y="46409"/>
                    <a:pt x="46743" y="0"/>
                    <a:pt x="103502" y="0"/>
                  </a:cubicBezTo>
                  <a:lnTo>
                    <a:pt x="516176" y="0"/>
                  </a:lnTo>
                  <a:cubicBezTo>
                    <a:pt x="573269" y="0"/>
                    <a:pt x="619678" y="46743"/>
                    <a:pt x="619678" y="103502"/>
                  </a:cubicBezTo>
                  <a:lnTo>
                    <a:pt x="619678" y="376949"/>
                  </a:lnTo>
                  <a:cubicBezTo>
                    <a:pt x="620012" y="434042"/>
                    <a:pt x="573269" y="480451"/>
                    <a:pt x="516176" y="480451"/>
                  </a:cubicBezTo>
                  <a:close/>
                </a:path>
              </a:pathLst>
            </a:custGeom>
            <a:solidFill>
              <a:srgbClr val="0078A9"/>
            </a:solidFill>
            <a:ln w="3303" cap="flat">
              <a:noFill/>
              <a:prstDash val="solid"/>
              <a:miter/>
            </a:ln>
          </p:spPr>
          <p:txBody>
            <a:bodyPr rtlCol="0" anchor="ctr"/>
            <a:lstStyle/>
            <a:p>
              <a:endParaRPr lang="en-US" sz="1799"/>
            </a:p>
          </p:txBody>
        </p:sp>
        <p:sp>
          <p:nvSpPr>
            <p:cNvPr id="19" name="Freeform: Shape 18">
              <a:extLst>
                <a:ext uri="{FF2B5EF4-FFF2-40B4-BE49-F238E27FC236}">
                  <a16:creationId xmlns:a16="http://schemas.microsoft.com/office/drawing/2014/main" id="{E07D5B9E-AC73-4B9F-9D92-4833042126E7}"/>
                </a:ext>
              </a:extLst>
            </p:cNvPr>
            <p:cNvSpPr/>
            <p:nvPr/>
          </p:nvSpPr>
          <p:spPr>
            <a:xfrm>
              <a:off x="10902639" y="5239677"/>
              <a:ext cx="561249" cy="393229"/>
            </a:xfrm>
            <a:custGeom>
              <a:avLst/>
              <a:gdLst>
                <a:gd name="connsiteX0" fmla="*/ 491135 w 561249"/>
                <a:gd name="connsiteY0" fmla="*/ 113106 h 393229"/>
                <a:gd name="connsiteX1" fmla="*/ 561250 w 561249"/>
                <a:gd name="connsiteY1" fmla="*/ 129800 h 393229"/>
                <a:gd name="connsiteX2" fmla="*/ 561250 w 561249"/>
                <a:gd name="connsiteY2" fmla="*/ 76379 h 393229"/>
                <a:gd name="connsiteX3" fmla="*/ 437047 w 561249"/>
                <a:gd name="connsiteY3" fmla="*/ 89066 h 393229"/>
                <a:gd name="connsiteX4" fmla="*/ 407332 w 561249"/>
                <a:gd name="connsiteY4" fmla="*/ 120785 h 393229"/>
                <a:gd name="connsiteX5" fmla="*/ 405996 w 561249"/>
                <a:gd name="connsiteY5" fmla="*/ 123456 h 393229"/>
                <a:gd name="connsiteX6" fmla="*/ 221695 w 561249"/>
                <a:gd name="connsiteY6" fmla="*/ 255 h 393229"/>
                <a:gd name="connsiteX7" fmla="*/ 166271 w 561249"/>
                <a:gd name="connsiteY7" fmla="*/ 255 h 393229"/>
                <a:gd name="connsiteX8" fmla="*/ 166271 w 561249"/>
                <a:gd name="connsiteY8" fmla="*/ 116445 h 393229"/>
                <a:gd name="connsiteX9" fmla="*/ 45407 w 561249"/>
                <a:gd name="connsiteY9" fmla="*/ 73374 h 393229"/>
                <a:gd name="connsiteX10" fmla="*/ 0 w 561249"/>
                <a:gd name="connsiteY10" fmla="*/ 73374 h 393229"/>
                <a:gd name="connsiteX11" fmla="*/ 0 w 561249"/>
                <a:gd name="connsiteY11" fmla="*/ 319109 h 393229"/>
                <a:gd name="connsiteX12" fmla="*/ 74455 w 561249"/>
                <a:gd name="connsiteY12" fmla="*/ 319109 h 393229"/>
                <a:gd name="connsiteX13" fmla="*/ 55758 w 561249"/>
                <a:gd name="connsiteY13" fmla="*/ 288392 h 393229"/>
                <a:gd name="connsiteX14" fmla="*/ 55758 w 561249"/>
                <a:gd name="connsiteY14" fmla="*/ 221616 h 393229"/>
                <a:gd name="connsiteX15" fmla="*/ 77126 w 561249"/>
                <a:gd name="connsiteY15" fmla="*/ 242984 h 393229"/>
                <a:gd name="connsiteX16" fmla="*/ 94821 w 561249"/>
                <a:gd name="connsiteY16" fmla="*/ 244988 h 393229"/>
                <a:gd name="connsiteX17" fmla="*/ 166271 w 561249"/>
                <a:gd name="connsiteY17" fmla="*/ 194238 h 393229"/>
                <a:gd name="connsiteX18" fmla="*/ 166271 w 561249"/>
                <a:gd name="connsiteY18" fmla="*/ 393230 h 393229"/>
                <a:gd name="connsiteX19" fmla="*/ 254749 w 561249"/>
                <a:gd name="connsiteY19" fmla="*/ 393230 h 393229"/>
                <a:gd name="connsiteX20" fmla="*/ 236052 w 561249"/>
                <a:gd name="connsiteY20" fmla="*/ 362847 h 393229"/>
                <a:gd name="connsiteX21" fmla="*/ 236052 w 561249"/>
                <a:gd name="connsiteY21" fmla="*/ 229295 h 393229"/>
                <a:gd name="connsiteX22" fmla="*/ 269774 w 561249"/>
                <a:gd name="connsiteY22" fmla="*/ 262683 h 393229"/>
                <a:gd name="connsiteX23" fmla="*/ 297820 w 561249"/>
                <a:gd name="connsiteY23" fmla="*/ 266690 h 393229"/>
                <a:gd name="connsiteX24" fmla="*/ 390972 w 561249"/>
                <a:gd name="connsiteY24" fmla="*/ 207593 h 393229"/>
                <a:gd name="connsiteX25" fmla="*/ 451737 w 561249"/>
                <a:gd name="connsiteY25" fmla="*/ 312765 h 393229"/>
                <a:gd name="connsiteX26" fmla="*/ 516844 w 561249"/>
                <a:gd name="connsiteY26" fmla="*/ 321112 h 393229"/>
                <a:gd name="connsiteX27" fmla="*/ 561250 w 561249"/>
                <a:gd name="connsiteY27" fmla="*/ 316772 h 393229"/>
                <a:gd name="connsiteX28" fmla="*/ 561250 w 561249"/>
                <a:gd name="connsiteY28" fmla="*/ 196575 h 393229"/>
                <a:gd name="connsiteX29" fmla="*/ 493472 w 561249"/>
                <a:gd name="connsiteY29" fmla="*/ 196575 h 393229"/>
                <a:gd name="connsiteX30" fmla="*/ 512169 w 561249"/>
                <a:gd name="connsiteY30" fmla="*/ 226624 h 393229"/>
                <a:gd name="connsiteX31" fmla="*/ 512169 w 561249"/>
                <a:gd name="connsiteY31" fmla="*/ 281714 h 393229"/>
                <a:gd name="connsiteX32" fmla="*/ 464091 w 561249"/>
                <a:gd name="connsiteY32" fmla="*/ 266690 h 393229"/>
                <a:gd name="connsiteX33" fmla="*/ 453073 w 561249"/>
                <a:gd name="connsiteY33" fmla="*/ 157512 h 393229"/>
                <a:gd name="connsiteX34" fmla="*/ 491135 w 561249"/>
                <a:gd name="connsiteY34" fmla="*/ 113106 h 393229"/>
                <a:gd name="connsiteX35" fmla="*/ 80799 w 561249"/>
                <a:gd name="connsiteY35" fmla="*/ 212268 h 393229"/>
                <a:gd name="connsiteX36" fmla="*/ 55424 w 561249"/>
                <a:gd name="connsiteY36" fmla="*/ 204588 h 393229"/>
                <a:gd name="connsiteX37" fmla="*/ 55424 w 561249"/>
                <a:gd name="connsiteY37" fmla="*/ 116111 h 393229"/>
                <a:gd name="connsiteX38" fmla="*/ 69113 w 561249"/>
                <a:gd name="connsiteY38" fmla="*/ 102422 h 393229"/>
                <a:gd name="connsiteX39" fmla="*/ 117859 w 561249"/>
                <a:gd name="connsiteY39" fmla="*/ 154173 h 393229"/>
                <a:gd name="connsiteX40" fmla="*/ 80799 w 561249"/>
                <a:gd name="connsiteY40" fmla="*/ 212268 h 393229"/>
                <a:gd name="connsiteX41" fmla="*/ 280792 w 561249"/>
                <a:gd name="connsiteY41" fmla="*/ 221282 h 393229"/>
                <a:gd name="connsiteX42" fmla="*/ 236052 w 561249"/>
                <a:gd name="connsiteY42" fmla="*/ 208595 h 393229"/>
                <a:gd name="connsiteX43" fmla="*/ 236052 w 561249"/>
                <a:gd name="connsiteY43" fmla="*/ 62022 h 393229"/>
                <a:gd name="connsiteX44" fmla="*/ 262762 w 561249"/>
                <a:gd name="connsiteY44" fmla="*/ 39986 h 393229"/>
                <a:gd name="connsiteX45" fmla="*/ 337217 w 561249"/>
                <a:gd name="connsiteY45" fmla="*/ 125125 h 393229"/>
                <a:gd name="connsiteX46" fmla="*/ 280792 w 561249"/>
                <a:gd name="connsiteY46" fmla="*/ 221282 h 39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61249" h="393229">
                  <a:moveTo>
                    <a:pt x="491135" y="113106"/>
                  </a:moveTo>
                  <a:cubicBezTo>
                    <a:pt x="515842" y="105760"/>
                    <a:pt x="541217" y="113440"/>
                    <a:pt x="561250" y="129800"/>
                  </a:cubicBezTo>
                  <a:lnTo>
                    <a:pt x="561250" y="76379"/>
                  </a:lnTo>
                  <a:cubicBezTo>
                    <a:pt x="496477" y="66029"/>
                    <a:pt x="462755" y="73040"/>
                    <a:pt x="437047" y="89066"/>
                  </a:cubicBezTo>
                  <a:cubicBezTo>
                    <a:pt x="416013" y="102422"/>
                    <a:pt x="407332" y="120785"/>
                    <a:pt x="407332" y="120785"/>
                  </a:cubicBezTo>
                  <a:cubicBezTo>
                    <a:pt x="407332" y="120785"/>
                    <a:pt x="406998" y="121787"/>
                    <a:pt x="405996" y="123456"/>
                  </a:cubicBezTo>
                  <a:cubicBezTo>
                    <a:pt x="402657" y="-11431"/>
                    <a:pt x="320189" y="255"/>
                    <a:pt x="221695" y="255"/>
                  </a:cubicBezTo>
                  <a:cubicBezTo>
                    <a:pt x="193983" y="255"/>
                    <a:pt x="166271" y="255"/>
                    <a:pt x="166271" y="255"/>
                  </a:cubicBezTo>
                  <a:lnTo>
                    <a:pt x="166271" y="116445"/>
                  </a:lnTo>
                  <a:cubicBezTo>
                    <a:pt x="149911" y="68366"/>
                    <a:pt x="99496" y="73374"/>
                    <a:pt x="45407" y="73374"/>
                  </a:cubicBezTo>
                  <a:cubicBezTo>
                    <a:pt x="25709" y="73374"/>
                    <a:pt x="0" y="73374"/>
                    <a:pt x="0" y="73374"/>
                  </a:cubicBezTo>
                  <a:lnTo>
                    <a:pt x="0" y="319109"/>
                  </a:lnTo>
                  <a:lnTo>
                    <a:pt x="74455" y="319109"/>
                  </a:lnTo>
                  <a:cubicBezTo>
                    <a:pt x="62101" y="314768"/>
                    <a:pt x="55758" y="304084"/>
                    <a:pt x="55758" y="288392"/>
                  </a:cubicBezTo>
                  <a:lnTo>
                    <a:pt x="55758" y="221616"/>
                  </a:lnTo>
                  <a:lnTo>
                    <a:pt x="77126" y="242984"/>
                  </a:lnTo>
                  <a:cubicBezTo>
                    <a:pt x="86475" y="245322"/>
                    <a:pt x="94821" y="244988"/>
                    <a:pt x="94821" y="244988"/>
                  </a:cubicBezTo>
                  <a:cubicBezTo>
                    <a:pt x="115522" y="243986"/>
                    <a:pt x="152249" y="235973"/>
                    <a:pt x="166271" y="194238"/>
                  </a:cubicBezTo>
                  <a:lnTo>
                    <a:pt x="166271" y="393230"/>
                  </a:lnTo>
                  <a:lnTo>
                    <a:pt x="254749" y="393230"/>
                  </a:lnTo>
                  <a:cubicBezTo>
                    <a:pt x="242396" y="388889"/>
                    <a:pt x="236052" y="378205"/>
                    <a:pt x="236052" y="362847"/>
                  </a:cubicBezTo>
                  <a:lnTo>
                    <a:pt x="236052" y="229295"/>
                  </a:lnTo>
                  <a:lnTo>
                    <a:pt x="269774" y="262683"/>
                  </a:lnTo>
                  <a:cubicBezTo>
                    <a:pt x="280458" y="266690"/>
                    <a:pt x="288471" y="267358"/>
                    <a:pt x="297820" y="266690"/>
                  </a:cubicBezTo>
                  <a:cubicBezTo>
                    <a:pt x="323528" y="265020"/>
                    <a:pt x="367934" y="254002"/>
                    <a:pt x="390972" y="207593"/>
                  </a:cubicBezTo>
                  <a:cubicBezTo>
                    <a:pt x="392975" y="251665"/>
                    <a:pt x="407332" y="295737"/>
                    <a:pt x="451737" y="312765"/>
                  </a:cubicBezTo>
                  <a:cubicBezTo>
                    <a:pt x="471436" y="320778"/>
                    <a:pt x="493806" y="323115"/>
                    <a:pt x="516844" y="321112"/>
                  </a:cubicBezTo>
                  <a:cubicBezTo>
                    <a:pt x="531868" y="320778"/>
                    <a:pt x="546559" y="319443"/>
                    <a:pt x="561250" y="316772"/>
                  </a:cubicBezTo>
                  <a:lnTo>
                    <a:pt x="561250" y="196575"/>
                  </a:lnTo>
                  <a:lnTo>
                    <a:pt x="493472" y="196575"/>
                  </a:lnTo>
                  <a:cubicBezTo>
                    <a:pt x="505826" y="200916"/>
                    <a:pt x="512169" y="211266"/>
                    <a:pt x="512169" y="226624"/>
                  </a:cubicBezTo>
                  <a:lnTo>
                    <a:pt x="512169" y="281714"/>
                  </a:lnTo>
                  <a:cubicBezTo>
                    <a:pt x="496811" y="286722"/>
                    <a:pt x="475777" y="281714"/>
                    <a:pt x="464091" y="266690"/>
                  </a:cubicBezTo>
                  <a:cubicBezTo>
                    <a:pt x="449400" y="247659"/>
                    <a:pt x="446729" y="193904"/>
                    <a:pt x="453073" y="157512"/>
                  </a:cubicBezTo>
                  <a:cubicBezTo>
                    <a:pt x="456412" y="139148"/>
                    <a:pt x="472104" y="118782"/>
                    <a:pt x="491135" y="113106"/>
                  </a:cubicBezTo>
                  <a:close/>
                  <a:moveTo>
                    <a:pt x="80799" y="212268"/>
                  </a:moveTo>
                  <a:cubicBezTo>
                    <a:pt x="62769" y="212268"/>
                    <a:pt x="55424" y="204588"/>
                    <a:pt x="55424" y="204588"/>
                  </a:cubicBezTo>
                  <a:lnTo>
                    <a:pt x="55424" y="116111"/>
                  </a:lnTo>
                  <a:cubicBezTo>
                    <a:pt x="55424" y="108431"/>
                    <a:pt x="60766" y="103423"/>
                    <a:pt x="69113" y="102422"/>
                  </a:cubicBezTo>
                  <a:cubicBezTo>
                    <a:pt x="77794" y="101420"/>
                    <a:pt x="117859" y="95076"/>
                    <a:pt x="117859" y="154173"/>
                  </a:cubicBezTo>
                  <a:cubicBezTo>
                    <a:pt x="117525" y="209597"/>
                    <a:pt x="93152" y="212268"/>
                    <a:pt x="80799" y="212268"/>
                  </a:cubicBezTo>
                  <a:close/>
                  <a:moveTo>
                    <a:pt x="280792" y="221282"/>
                  </a:moveTo>
                  <a:cubicBezTo>
                    <a:pt x="253748" y="221282"/>
                    <a:pt x="236052" y="208595"/>
                    <a:pt x="236052" y="208595"/>
                  </a:cubicBezTo>
                  <a:lnTo>
                    <a:pt x="236052" y="62022"/>
                  </a:lnTo>
                  <a:cubicBezTo>
                    <a:pt x="236052" y="49669"/>
                    <a:pt x="250409" y="41322"/>
                    <a:pt x="262762" y="39986"/>
                  </a:cubicBezTo>
                  <a:cubicBezTo>
                    <a:pt x="276117" y="38317"/>
                    <a:pt x="337217" y="28968"/>
                    <a:pt x="337217" y="125125"/>
                  </a:cubicBezTo>
                  <a:cubicBezTo>
                    <a:pt x="337217" y="211600"/>
                    <a:pt x="295816" y="221282"/>
                    <a:pt x="280792" y="221282"/>
                  </a:cubicBezTo>
                  <a:close/>
                </a:path>
              </a:pathLst>
            </a:custGeom>
            <a:solidFill>
              <a:srgbClr val="FFFFFF"/>
            </a:solidFill>
            <a:ln w="3303" cap="flat">
              <a:noFill/>
              <a:prstDash val="solid"/>
              <a:miter/>
            </a:ln>
          </p:spPr>
          <p:txBody>
            <a:bodyPr rtlCol="0" anchor="ctr"/>
            <a:lstStyle/>
            <a:p>
              <a:endParaRPr lang="en-US" sz="1799"/>
            </a:p>
          </p:txBody>
        </p:sp>
      </p:grpSp>
      <p:sp>
        <p:nvSpPr>
          <p:cNvPr id="21" name="Title 4">
            <a:extLst>
              <a:ext uri="{FF2B5EF4-FFF2-40B4-BE49-F238E27FC236}">
                <a16:creationId xmlns:a16="http://schemas.microsoft.com/office/drawing/2014/main" id="{8983970E-13E2-4A40-AE54-66207EB17C31}"/>
              </a:ext>
            </a:extLst>
          </p:cNvPr>
          <p:cNvSpPr>
            <a:spLocks noGrp="1"/>
          </p:cNvSpPr>
          <p:nvPr>
            <p:ph type="title"/>
          </p:nvPr>
        </p:nvSpPr>
        <p:spPr>
          <a:xfrm>
            <a:off x="7489287" y="499920"/>
            <a:ext cx="3685042" cy="475453"/>
          </a:xfrm>
        </p:spPr>
        <p:txBody>
          <a:bodyPr>
            <a:normAutofit fontScale="90000"/>
          </a:bodyPr>
          <a:lstStyle/>
          <a:p>
            <a:r>
              <a:rPr lang="en-US" sz="3200"/>
              <a:t>Today’s agenda </a:t>
            </a:r>
          </a:p>
        </p:txBody>
      </p:sp>
      <p:cxnSp>
        <p:nvCxnSpPr>
          <p:cNvPr id="23" name="Straight Connector 22">
            <a:extLst>
              <a:ext uri="{FF2B5EF4-FFF2-40B4-BE49-F238E27FC236}">
                <a16:creationId xmlns:a16="http://schemas.microsoft.com/office/drawing/2014/main" id="{97D2932E-725F-4961-8DC4-62A42FFB6FCC}"/>
              </a:ext>
            </a:extLst>
          </p:cNvPr>
          <p:cNvCxnSpPr>
            <a:cxnSpLocks/>
          </p:cNvCxnSpPr>
          <p:nvPr/>
        </p:nvCxnSpPr>
        <p:spPr>
          <a:xfrm>
            <a:off x="7680309" y="1281936"/>
            <a:ext cx="0" cy="259784"/>
          </a:xfrm>
          <a:prstGeom prst="line">
            <a:avLst/>
          </a:prstGeom>
          <a:ln w="571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D62C95F0-E275-4E7E-9C47-9262D5456E79}"/>
              </a:ext>
            </a:extLst>
          </p:cNvPr>
          <p:cNvCxnSpPr>
            <a:cxnSpLocks/>
          </p:cNvCxnSpPr>
          <p:nvPr/>
        </p:nvCxnSpPr>
        <p:spPr>
          <a:xfrm>
            <a:off x="7676530" y="3724275"/>
            <a:ext cx="0" cy="226385"/>
          </a:xfrm>
          <a:prstGeom prst="line">
            <a:avLst/>
          </a:prstGeom>
          <a:ln w="5715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7" name="Content Placeholder 8">
            <a:extLst>
              <a:ext uri="{FF2B5EF4-FFF2-40B4-BE49-F238E27FC236}">
                <a16:creationId xmlns:a16="http://schemas.microsoft.com/office/drawing/2014/main" id="{9899D9D6-853D-4950-ABB6-C1682AC6CEB3}"/>
              </a:ext>
            </a:extLst>
          </p:cNvPr>
          <p:cNvSpPr txBox="1">
            <a:spLocks/>
          </p:cNvSpPr>
          <p:nvPr/>
        </p:nvSpPr>
        <p:spPr>
          <a:xfrm>
            <a:off x="7933488" y="1274826"/>
            <a:ext cx="4144476" cy="4713224"/>
          </a:xfrm>
          <a:prstGeom prst="rect">
            <a:avLst/>
          </a:prstGeom>
        </p:spPr>
        <p:txBody>
          <a:bodyPr vert="horz" lIns="0" tIns="0" rIns="0" bIns="0" rtlCol="0">
            <a:normAutofit/>
          </a:bodyPr>
          <a:lstStyle>
            <a:lvl1pPr marL="228600" indent="-228600" algn="l" defTabSz="457207"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42900" indent="-171450" algn="l" defTabSz="457207" rtl="0" eaLnBrk="1" latinLnBrk="0" hangingPunct="1">
              <a:spcBef>
                <a:spcPts val="528"/>
              </a:spcBef>
              <a:spcAft>
                <a:spcPts val="0"/>
              </a:spcAft>
              <a:buClr>
                <a:schemeClr val="accent1"/>
              </a:buClr>
              <a:buFont typeface="Arial"/>
              <a:buChar char="•"/>
              <a:defRPr sz="2199" b="0" i="0" kern="1200">
                <a:solidFill>
                  <a:schemeClr val="tx1"/>
                </a:solidFill>
                <a:latin typeface="Arial"/>
                <a:ea typeface="+mn-ea"/>
                <a:cs typeface="Arial"/>
              </a:defRPr>
            </a:lvl2pPr>
            <a:lvl3pPr marL="514350" indent="-171450" algn="l" defTabSz="457207"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85800" indent="-171450" algn="l" defTabSz="457207"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00100" indent="-171450" algn="l" defTabSz="457207"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13" indent="-114302" algn="l" defTabSz="457207"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6003" indent="-115890" algn="l" defTabSz="457207"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305" indent="-114302" algn="l" defTabSz="457207"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83" indent="-106365" algn="l" defTabSz="457207"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lvl="1" indent="0">
              <a:lnSpc>
                <a:spcPct val="90000"/>
              </a:lnSpc>
              <a:spcBef>
                <a:spcPts val="1200"/>
              </a:spcBef>
              <a:buNone/>
            </a:pPr>
            <a:r>
              <a:rPr lang="en-US"/>
              <a:t>Introductions</a:t>
            </a:r>
          </a:p>
          <a:p>
            <a:pPr marL="0" lvl="1" indent="0">
              <a:lnSpc>
                <a:spcPct val="90000"/>
              </a:lnSpc>
              <a:spcBef>
                <a:spcPts val="1200"/>
              </a:spcBef>
              <a:buNone/>
            </a:pPr>
            <a:r>
              <a:rPr lang="en-US"/>
              <a:t>The three keys to proper application</a:t>
            </a:r>
          </a:p>
          <a:p>
            <a:pPr marL="0" lvl="1" indent="0">
              <a:lnSpc>
                <a:spcPct val="90000"/>
              </a:lnSpc>
              <a:spcBef>
                <a:spcPts val="1200"/>
              </a:spcBef>
              <a:buClr>
                <a:schemeClr val="accent2"/>
              </a:buClr>
              <a:buNone/>
            </a:pPr>
            <a:r>
              <a:rPr lang="en-US"/>
              <a:t>Production methods</a:t>
            </a:r>
          </a:p>
          <a:p>
            <a:pPr marL="0" lvl="1" indent="0">
              <a:lnSpc>
                <a:spcPct val="90000"/>
              </a:lnSpc>
              <a:spcBef>
                <a:spcPts val="1200"/>
              </a:spcBef>
              <a:buClr>
                <a:schemeClr val="accent2"/>
              </a:buClr>
              <a:buNone/>
            </a:pPr>
            <a:r>
              <a:rPr lang="en-US"/>
              <a:t>Substrates and impact </a:t>
            </a:r>
            <a:br>
              <a:rPr lang="en-US"/>
            </a:br>
            <a:r>
              <a:rPr lang="en-US"/>
              <a:t>on application</a:t>
            </a:r>
          </a:p>
          <a:p>
            <a:pPr marL="0" lvl="1" indent="0">
              <a:lnSpc>
                <a:spcPct val="90000"/>
              </a:lnSpc>
              <a:spcBef>
                <a:spcPts val="1200"/>
              </a:spcBef>
              <a:buClr>
                <a:schemeClr val="accent2"/>
              </a:buClr>
              <a:buNone/>
            </a:pPr>
            <a:r>
              <a:rPr lang="en-US"/>
              <a:t>Problem-solving chart</a:t>
            </a:r>
          </a:p>
          <a:p>
            <a:pPr marL="0" lvl="1" indent="0">
              <a:lnSpc>
                <a:spcPct val="90000"/>
              </a:lnSpc>
              <a:spcBef>
                <a:spcPts val="1200"/>
              </a:spcBef>
              <a:buClr>
                <a:schemeClr val="accent2"/>
              </a:buClr>
              <a:buNone/>
            </a:pPr>
            <a:r>
              <a:rPr lang="en-US"/>
              <a:t>Quality Cooperative Program (QCP) </a:t>
            </a:r>
          </a:p>
        </p:txBody>
      </p:sp>
      <p:cxnSp>
        <p:nvCxnSpPr>
          <p:cNvPr id="29" name="Straight Connector 28">
            <a:extLst>
              <a:ext uri="{FF2B5EF4-FFF2-40B4-BE49-F238E27FC236}">
                <a16:creationId xmlns:a16="http://schemas.microsoft.com/office/drawing/2014/main" id="{BA2D9F06-2BEE-441F-A8C2-DED9AAC0F58A}"/>
              </a:ext>
            </a:extLst>
          </p:cNvPr>
          <p:cNvCxnSpPr>
            <a:cxnSpLocks/>
          </p:cNvCxnSpPr>
          <p:nvPr/>
        </p:nvCxnSpPr>
        <p:spPr>
          <a:xfrm>
            <a:off x="7680309" y="1728504"/>
            <a:ext cx="0" cy="576546"/>
          </a:xfrm>
          <a:prstGeom prst="line">
            <a:avLst/>
          </a:prstGeom>
          <a:ln w="5715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1B92D73A-EE96-47A2-9991-BE5726899968}"/>
              </a:ext>
            </a:extLst>
          </p:cNvPr>
          <p:cNvCxnSpPr>
            <a:cxnSpLocks/>
          </p:cNvCxnSpPr>
          <p:nvPr/>
        </p:nvCxnSpPr>
        <p:spPr>
          <a:xfrm>
            <a:off x="7680309" y="2510661"/>
            <a:ext cx="0" cy="259784"/>
          </a:xfrm>
          <a:prstGeom prst="line">
            <a:avLst/>
          </a:prstGeom>
          <a:ln w="571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D4B3729E-4C3E-420B-A50A-D1D2A459B149}"/>
              </a:ext>
            </a:extLst>
          </p:cNvPr>
          <p:cNvCxnSpPr>
            <a:cxnSpLocks/>
          </p:cNvCxnSpPr>
          <p:nvPr/>
        </p:nvCxnSpPr>
        <p:spPr>
          <a:xfrm>
            <a:off x="7676530" y="4195210"/>
            <a:ext cx="0" cy="520995"/>
          </a:xfrm>
          <a:prstGeom prst="line">
            <a:avLst/>
          </a:prstGeom>
          <a:ln w="57150">
            <a:solidFill>
              <a:srgbClr val="7030A0"/>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9FB24AB3-8D3D-47C6-9C9E-C8AF490A2A0C}"/>
              </a:ext>
            </a:extLst>
          </p:cNvPr>
          <p:cNvCxnSpPr>
            <a:cxnSpLocks/>
          </p:cNvCxnSpPr>
          <p:nvPr/>
        </p:nvCxnSpPr>
        <p:spPr>
          <a:xfrm>
            <a:off x="7680309" y="2957228"/>
            <a:ext cx="0" cy="547972"/>
          </a:xfrm>
          <a:prstGeom prst="line">
            <a:avLst/>
          </a:prstGeom>
          <a:ln w="57150">
            <a:solidFill>
              <a:schemeClr val="accent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134503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FD9C4343-C115-504A-8D4F-0B17318D4A48}" type="slidenum">
              <a:rPr lang="en-US" smtClean="0"/>
              <a:pPr/>
              <a:t>30</a:t>
            </a:fld>
            <a:endParaRPr lang="en-US"/>
          </a:p>
        </p:txBody>
      </p:sp>
      <p:sp>
        <p:nvSpPr>
          <p:cNvPr id="13" name="Rectangle 12">
            <a:extLst>
              <a:ext uri="{FF2B5EF4-FFF2-40B4-BE49-F238E27FC236}">
                <a16:creationId xmlns:a16="http://schemas.microsoft.com/office/drawing/2014/main" id="{B73B1C52-0D45-4BAE-954D-D7E68948B07E}"/>
              </a:ext>
            </a:extLst>
          </p:cNvPr>
          <p:cNvSpPr/>
          <p:nvPr/>
        </p:nvSpPr>
        <p:spPr>
          <a:xfrm>
            <a:off x="-1" y="576380"/>
            <a:ext cx="12188825" cy="1328620"/>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B2EF4A5-2AEE-4C8B-989A-937C0FE74C56}"/>
              </a:ext>
            </a:extLst>
          </p:cNvPr>
          <p:cNvSpPr/>
          <p:nvPr/>
        </p:nvSpPr>
        <p:spPr>
          <a:xfrm>
            <a:off x="0" y="167549"/>
            <a:ext cx="12188825" cy="4091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8B73A7DA-0E65-4D21-80C3-262D5D9532B8}"/>
              </a:ext>
            </a:extLst>
          </p:cNvPr>
          <p:cNvSpPr txBox="1"/>
          <p:nvPr/>
        </p:nvSpPr>
        <p:spPr>
          <a:xfrm>
            <a:off x="2630361" y="658895"/>
            <a:ext cx="3229298" cy="313932"/>
          </a:xfrm>
          <a:prstGeom prst="rect">
            <a:avLst/>
          </a:prstGeom>
          <a:noFill/>
        </p:spPr>
        <p:txBody>
          <a:bodyPr wrap="square">
            <a:spAutoFit/>
          </a:bodyPr>
          <a:lstStyle>
            <a:defPPr>
              <a:defRPr lang="en-US"/>
            </a:defPPr>
            <a:lvl3pPr marL="0" lvl="2">
              <a:lnSpc>
                <a:spcPct val="90000"/>
              </a:lnSpc>
              <a:defRPr sz="1600" b="1">
                <a:solidFill>
                  <a:schemeClr val="accent1"/>
                </a:solidFill>
              </a:defRPr>
            </a:lvl3pPr>
          </a:lstStyle>
          <a:p>
            <a:pPr lvl="2"/>
            <a:r>
              <a:rPr lang="en-US" b="0">
                <a:solidFill>
                  <a:schemeClr val="bg1">
                    <a:lumMod val="75000"/>
                  </a:schemeClr>
                </a:solidFill>
              </a:rPr>
              <a:t>Stainless</a:t>
            </a:r>
          </a:p>
        </p:txBody>
      </p:sp>
      <p:sp>
        <p:nvSpPr>
          <p:cNvPr id="16" name="TextBox 15">
            <a:extLst>
              <a:ext uri="{FF2B5EF4-FFF2-40B4-BE49-F238E27FC236}">
                <a16:creationId xmlns:a16="http://schemas.microsoft.com/office/drawing/2014/main" id="{308AE76E-E156-403D-B6C3-6590C0DC2C64}"/>
              </a:ext>
            </a:extLst>
          </p:cNvPr>
          <p:cNvSpPr txBox="1"/>
          <p:nvPr/>
        </p:nvSpPr>
        <p:spPr>
          <a:xfrm>
            <a:off x="2630360" y="942313"/>
            <a:ext cx="3741865" cy="313932"/>
          </a:xfrm>
          <a:prstGeom prst="rect">
            <a:avLst/>
          </a:prstGeom>
          <a:noFill/>
        </p:spPr>
        <p:txBody>
          <a:bodyPr wrap="square">
            <a:spAutoFit/>
          </a:bodyPr>
          <a:lstStyle/>
          <a:p>
            <a:pPr marL="0" lvl="2">
              <a:lnSpc>
                <a:spcPct val="90000"/>
              </a:lnSpc>
            </a:pPr>
            <a:r>
              <a:rPr lang="en-US" sz="1600">
                <a:solidFill>
                  <a:schemeClr val="bg1">
                    <a:lumMod val="75000"/>
                  </a:schemeClr>
                </a:solidFill>
              </a:rPr>
              <a:t>Aluminized (Bakeware only) </a:t>
            </a:r>
          </a:p>
        </p:txBody>
      </p:sp>
      <p:sp>
        <p:nvSpPr>
          <p:cNvPr id="17" name="TextBox 16">
            <a:extLst>
              <a:ext uri="{FF2B5EF4-FFF2-40B4-BE49-F238E27FC236}">
                <a16:creationId xmlns:a16="http://schemas.microsoft.com/office/drawing/2014/main" id="{B5ADC28C-6A0E-434B-93ED-70E4DBD8BD60}"/>
              </a:ext>
            </a:extLst>
          </p:cNvPr>
          <p:cNvSpPr txBox="1"/>
          <p:nvPr/>
        </p:nvSpPr>
        <p:spPr>
          <a:xfrm>
            <a:off x="2630360" y="196771"/>
            <a:ext cx="1839220" cy="369332"/>
          </a:xfrm>
          <a:prstGeom prst="rect">
            <a:avLst/>
          </a:prstGeom>
          <a:noFill/>
        </p:spPr>
        <p:txBody>
          <a:bodyPr wrap="square">
            <a:spAutoFit/>
          </a:bodyPr>
          <a:lstStyle/>
          <a:p>
            <a:pPr marL="0" lvl="2">
              <a:lnSpc>
                <a:spcPct val="90000"/>
              </a:lnSpc>
            </a:pPr>
            <a:r>
              <a:rPr lang="en-US" sz="2000" b="1">
                <a:solidFill>
                  <a:schemeClr val="bg1"/>
                </a:solidFill>
              </a:rPr>
              <a:t>Steel</a:t>
            </a:r>
          </a:p>
        </p:txBody>
      </p:sp>
      <p:sp>
        <p:nvSpPr>
          <p:cNvPr id="18" name="TextBox 17">
            <a:extLst>
              <a:ext uri="{FF2B5EF4-FFF2-40B4-BE49-F238E27FC236}">
                <a16:creationId xmlns:a16="http://schemas.microsoft.com/office/drawing/2014/main" id="{FCD12346-E7B4-4702-928E-E3CFAA6291B4}"/>
              </a:ext>
            </a:extLst>
          </p:cNvPr>
          <p:cNvSpPr txBox="1"/>
          <p:nvPr/>
        </p:nvSpPr>
        <p:spPr>
          <a:xfrm>
            <a:off x="2630360" y="1225731"/>
            <a:ext cx="3741865" cy="313932"/>
          </a:xfrm>
          <a:prstGeom prst="rect">
            <a:avLst/>
          </a:prstGeom>
          <a:noFill/>
        </p:spPr>
        <p:txBody>
          <a:bodyPr wrap="square">
            <a:spAutoFit/>
          </a:bodyPr>
          <a:lstStyle/>
          <a:p>
            <a:pPr marL="0" lvl="2">
              <a:lnSpc>
                <a:spcPct val="90000"/>
              </a:lnSpc>
            </a:pPr>
            <a:r>
              <a:rPr lang="en-US" sz="1600" b="1">
                <a:solidFill>
                  <a:schemeClr val="accent6"/>
                </a:solidFill>
              </a:rPr>
              <a:t>TFS/ECCS (for coil coated products)</a:t>
            </a:r>
          </a:p>
        </p:txBody>
      </p:sp>
      <p:sp>
        <p:nvSpPr>
          <p:cNvPr id="23" name="TextBox 22">
            <a:extLst>
              <a:ext uri="{FF2B5EF4-FFF2-40B4-BE49-F238E27FC236}">
                <a16:creationId xmlns:a16="http://schemas.microsoft.com/office/drawing/2014/main" id="{446238A8-B398-4329-811F-6376060B5ED0}"/>
              </a:ext>
            </a:extLst>
          </p:cNvPr>
          <p:cNvSpPr txBox="1"/>
          <p:nvPr/>
        </p:nvSpPr>
        <p:spPr>
          <a:xfrm>
            <a:off x="2630361" y="1509150"/>
            <a:ext cx="1614691" cy="313932"/>
          </a:xfrm>
          <a:prstGeom prst="rect">
            <a:avLst/>
          </a:prstGeom>
          <a:noFill/>
        </p:spPr>
        <p:txBody>
          <a:bodyPr wrap="square">
            <a:spAutoFit/>
          </a:bodyPr>
          <a:lstStyle/>
          <a:p>
            <a:pPr marL="0" lvl="2">
              <a:lnSpc>
                <a:spcPct val="90000"/>
              </a:lnSpc>
            </a:pPr>
            <a:r>
              <a:rPr lang="en-US" sz="1600">
                <a:solidFill>
                  <a:schemeClr val="bg1">
                    <a:lumMod val="75000"/>
                  </a:schemeClr>
                </a:solidFill>
              </a:rPr>
              <a:t>Carbon</a:t>
            </a:r>
          </a:p>
        </p:txBody>
      </p:sp>
      <p:pic>
        <p:nvPicPr>
          <p:cNvPr id="26" name="Picture 25">
            <a:extLst>
              <a:ext uri="{FF2B5EF4-FFF2-40B4-BE49-F238E27FC236}">
                <a16:creationId xmlns:a16="http://schemas.microsoft.com/office/drawing/2014/main" id="{8D4A7A69-FF58-45B3-BC98-DBABC2C9A689}"/>
              </a:ext>
            </a:extLst>
          </p:cNvPr>
          <p:cNvPicPr>
            <a:picLocks noChangeAspect="1"/>
          </p:cNvPicPr>
          <p:nvPr/>
        </p:nvPicPr>
        <p:blipFill rotWithShape="1">
          <a:blip r:embed="rId3"/>
          <a:srcRect t="8853" r="48396" b="7450"/>
          <a:stretch/>
        </p:blipFill>
        <p:spPr>
          <a:xfrm flipH="1">
            <a:off x="-3" y="-106517"/>
            <a:ext cx="2701650" cy="2268605"/>
          </a:xfrm>
          <a:prstGeom prst="rect">
            <a:avLst/>
          </a:prstGeom>
        </p:spPr>
      </p:pic>
      <p:sp>
        <p:nvSpPr>
          <p:cNvPr id="30" name="Content Placeholder 3">
            <a:extLst>
              <a:ext uri="{FF2B5EF4-FFF2-40B4-BE49-F238E27FC236}">
                <a16:creationId xmlns:a16="http://schemas.microsoft.com/office/drawing/2014/main" id="{B818C2FB-6B03-43F1-8188-828703758C77}"/>
              </a:ext>
            </a:extLst>
          </p:cNvPr>
          <p:cNvSpPr>
            <a:spLocks noGrp="1"/>
          </p:cNvSpPr>
          <p:nvPr>
            <p:ph idx="1"/>
          </p:nvPr>
        </p:nvSpPr>
        <p:spPr>
          <a:xfrm>
            <a:off x="535793" y="2358967"/>
            <a:ext cx="4839229" cy="3880351"/>
          </a:xfrm>
        </p:spPr>
        <p:txBody>
          <a:bodyPr vert="horz" lIns="0" tIns="0" rIns="0" bIns="0" rtlCol="0" anchor="t">
            <a:noAutofit/>
          </a:bodyPr>
          <a:lstStyle/>
          <a:p>
            <a:pPr marL="0" indent="0">
              <a:lnSpc>
                <a:spcPct val="90000"/>
              </a:lnSpc>
              <a:spcBef>
                <a:spcPts val="600"/>
              </a:spcBef>
              <a:buNone/>
            </a:pPr>
            <a:r>
              <a:rPr lang="en-US" sz="2000" b="1">
                <a:solidFill>
                  <a:schemeClr val="accent1"/>
                </a:solidFill>
              </a:rPr>
              <a:t>Product knowledge facts</a:t>
            </a:r>
            <a:endParaRPr lang="en-US" sz="1800" b="1" baseline="30000">
              <a:solidFill>
                <a:schemeClr val="accent1"/>
              </a:solidFill>
            </a:endParaRPr>
          </a:p>
          <a:p>
            <a:pPr marL="285115" indent="-285115">
              <a:lnSpc>
                <a:spcPct val="90000"/>
              </a:lnSpc>
              <a:spcBef>
                <a:spcPts val="600"/>
              </a:spcBef>
              <a:buClr>
                <a:schemeClr val="accent6"/>
              </a:buClr>
            </a:pPr>
            <a:r>
              <a:rPr lang="en-US" sz="1800"/>
              <a:t>This steel-based material has a good weight-to-strength ratio needed to satisfy the coil coating application process.</a:t>
            </a:r>
          </a:p>
          <a:p>
            <a:pPr marL="285115" indent="-285115">
              <a:lnSpc>
                <a:spcPct val="90000"/>
              </a:lnSpc>
              <a:spcBef>
                <a:spcPts val="600"/>
              </a:spcBef>
              <a:buClr>
                <a:schemeClr val="accent6"/>
              </a:buClr>
            </a:pPr>
            <a:r>
              <a:rPr lang="en-US" sz="1800"/>
              <a:t>This substrate provides the necessary protection that helps the steel resist rusting and staining.</a:t>
            </a:r>
            <a:endParaRPr lang="en-US" sz="1800">
              <a:highlight>
                <a:srgbClr val="FFFF00"/>
              </a:highlight>
            </a:endParaRPr>
          </a:p>
          <a:p>
            <a:pPr marL="285115" indent="-285115">
              <a:lnSpc>
                <a:spcPct val="90000"/>
              </a:lnSpc>
              <a:spcBef>
                <a:spcPts val="600"/>
              </a:spcBef>
              <a:buClr>
                <a:schemeClr val="accent6"/>
              </a:buClr>
            </a:pPr>
            <a:r>
              <a:rPr lang="en-US" sz="1800"/>
              <a:t>There are a limited number of TFS/ECCS suppliers.</a:t>
            </a:r>
          </a:p>
        </p:txBody>
      </p:sp>
      <p:sp>
        <p:nvSpPr>
          <p:cNvPr id="32" name="Content Placeholder 3">
            <a:extLst>
              <a:ext uri="{FF2B5EF4-FFF2-40B4-BE49-F238E27FC236}">
                <a16:creationId xmlns:a16="http://schemas.microsoft.com/office/drawing/2014/main" id="{8043CE84-1042-4E74-AD7F-60DA0AFBB441}"/>
              </a:ext>
            </a:extLst>
          </p:cNvPr>
          <p:cNvSpPr txBox="1">
            <a:spLocks/>
          </p:cNvSpPr>
          <p:nvPr/>
        </p:nvSpPr>
        <p:spPr>
          <a:xfrm>
            <a:off x="5669159" y="2358967"/>
            <a:ext cx="6018348" cy="2820529"/>
          </a:xfrm>
          <a:prstGeom prst="rect">
            <a:avLst/>
          </a:prstGeom>
          <a:noFill/>
        </p:spPr>
        <p:txBody>
          <a:bodyPr vert="horz" lIns="0" tIns="0" rIns="0" bIns="0" rtlCol="0" anchor="t">
            <a:no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nSpc>
                <a:spcPct val="90000"/>
              </a:lnSpc>
              <a:spcBef>
                <a:spcPts val="600"/>
              </a:spcBef>
              <a:buNone/>
            </a:pPr>
            <a:r>
              <a:rPr lang="en-US" sz="2000" b="1">
                <a:solidFill>
                  <a:schemeClr val="accent1"/>
                </a:solidFill>
              </a:rPr>
              <a:t>Important details for non-stick coating application</a:t>
            </a:r>
            <a:endParaRPr lang="en-US" sz="2000" b="1" baseline="30000">
              <a:solidFill>
                <a:schemeClr val="accent1"/>
              </a:solidFill>
            </a:endParaRPr>
          </a:p>
          <a:p>
            <a:pPr marL="285115" indent="-285115">
              <a:lnSpc>
                <a:spcPct val="90000"/>
              </a:lnSpc>
              <a:spcBef>
                <a:spcPts val="600"/>
              </a:spcBef>
              <a:buClr>
                <a:schemeClr val="accent6"/>
              </a:buClr>
            </a:pPr>
            <a:r>
              <a:rPr lang="en-US" sz="1800"/>
              <a:t>Specific gauge limitations due to the coil coating process.</a:t>
            </a:r>
          </a:p>
          <a:p>
            <a:pPr marL="285115" indent="-285115">
              <a:lnSpc>
                <a:spcPct val="90000"/>
              </a:lnSpc>
              <a:spcBef>
                <a:spcPts val="600"/>
              </a:spcBef>
              <a:buClr>
                <a:schemeClr val="accent6"/>
              </a:buClr>
            </a:pPr>
            <a:r>
              <a:rPr lang="en-US" sz="1800"/>
              <a:t>There is a limited number of coil coaters capable of curing non-stick coatings.</a:t>
            </a:r>
          </a:p>
          <a:p>
            <a:pPr marL="285115" indent="-285115">
              <a:lnSpc>
                <a:spcPct val="90000"/>
              </a:lnSpc>
              <a:spcBef>
                <a:spcPts val="600"/>
              </a:spcBef>
              <a:buClr>
                <a:schemeClr val="accent6"/>
              </a:buClr>
            </a:pPr>
            <a:r>
              <a:rPr lang="en-US" sz="1800"/>
              <a:t>A thoroughly cleaned substrate and a chemical pretreatment should be used to gain suitable coating adhesion.</a:t>
            </a:r>
          </a:p>
          <a:p>
            <a:pPr marL="285115" indent="-285115">
              <a:lnSpc>
                <a:spcPct val="90000"/>
              </a:lnSpc>
              <a:spcBef>
                <a:spcPts val="600"/>
              </a:spcBef>
              <a:buClr>
                <a:schemeClr val="accent6"/>
              </a:buClr>
            </a:pPr>
            <a:r>
              <a:rPr lang="en-US" sz="1800"/>
              <a:t>Alternate metal would be aluminized steel.</a:t>
            </a:r>
            <a:endParaRPr lang="en-US"/>
          </a:p>
        </p:txBody>
      </p:sp>
    </p:spTree>
    <p:extLst>
      <p:ext uri="{BB962C8B-B14F-4D97-AF65-F5344CB8AC3E}">
        <p14:creationId xmlns:p14="http://schemas.microsoft.com/office/powerpoint/2010/main" val="32688961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FD9C4343-C115-504A-8D4F-0B17318D4A48}" type="slidenum">
              <a:rPr lang="en-US" smtClean="0"/>
              <a:pPr/>
              <a:t>31</a:t>
            </a:fld>
            <a:endParaRPr lang="en-US"/>
          </a:p>
        </p:txBody>
      </p:sp>
      <p:sp>
        <p:nvSpPr>
          <p:cNvPr id="13" name="Rectangle 12">
            <a:extLst>
              <a:ext uri="{FF2B5EF4-FFF2-40B4-BE49-F238E27FC236}">
                <a16:creationId xmlns:a16="http://schemas.microsoft.com/office/drawing/2014/main" id="{B73B1C52-0D45-4BAE-954D-D7E68948B07E}"/>
              </a:ext>
            </a:extLst>
          </p:cNvPr>
          <p:cNvSpPr/>
          <p:nvPr/>
        </p:nvSpPr>
        <p:spPr>
          <a:xfrm>
            <a:off x="-1" y="576380"/>
            <a:ext cx="12188825" cy="1328620"/>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B2EF4A5-2AEE-4C8B-989A-937C0FE74C56}"/>
              </a:ext>
            </a:extLst>
          </p:cNvPr>
          <p:cNvSpPr/>
          <p:nvPr/>
        </p:nvSpPr>
        <p:spPr>
          <a:xfrm>
            <a:off x="0" y="167549"/>
            <a:ext cx="12188825" cy="4091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8B73A7DA-0E65-4D21-80C3-262D5D9532B8}"/>
              </a:ext>
            </a:extLst>
          </p:cNvPr>
          <p:cNvSpPr txBox="1"/>
          <p:nvPr/>
        </p:nvSpPr>
        <p:spPr>
          <a:xfrm>
            <a:off x="2630361" y="658895"/>
            <a:ext cx="3229298" cy="313932"/>
          </a:xfrm>
          <a:prstGeom prst="rect">
            <a:avLst/>
          </a:prstGeom>
          <a:noFill/>
        </p:spPr>
        <p:txBody>
          <a:bodyPr wrap="square">
            <a:spAutoFit/>
          </a:bodyPr>
          <a:lstStyle>
            <a:defPPr>
              <a:defRPr lang="en-US"/>
            </a:defPPr>
            <a:lvl3pPr marL="0" lvl="2">
              <a:lnSpc>
                <a:spcPct val="90000"/>
              </a:lnSpc>
              <a:defRPr sz="1600" b="1">
                <a:solidFill>
                  <a:schemeClr val="accent1"/>
                </a:solidFill>
              </a:defRPr>
            </a:lvl3pPr>
          </a:lstStyle>
          <a:p>
            <a:pPr lvl="2"/>
            <a:r>
              <a:rPr lang="en-US" b="0">
                <a:solidFill>
                  <a:schemeClr val="bg1">
                    <a:lumMod val="75000"/>
                  </a:schemeClr>
                </a:solidFill>
              </a:rPr>
              <a:t>Stainless</a:t>
            </a:r>
          </a:p>
        </p:txBody>
      </p:sp>
      <p:sp>
        <p:nvSpPr>
          <p:cNvPr id="16" name="TextBox 15">
            <a:extLst>
              <a:ext uri="{FF2B5EF4-FFF2-40B4-BE49-F238E27FC236}">
                <a16:creationId xmlns:a16="http://schemas.microsoft.com/office/drawing/2014/main" id="{308AE76E-E156-403D-B6C3-6590C0DC2C64}"/>
              </a:ext>
            </a:extLst>
          </p:cNvPr>
          <p:cNvSpPr txBox="1"/>
          <p:nvPr/>
        </p:nvSpPr>
        <p:spPr>
          <a:xfrm>
            <a:off x="2630360" y="942313"/>
            <a:ext cx="3445975" cy="313932"/>
          </a:xfrm>
          <a:prstGeom prst="rect">
            <a:avLst/>
          </a:prstGeom>
          <a:noFill/>
        </p:spPr>
        <p:txBody>
          <a:bodyPr wrap="square">
            <a:spAutoFit/>
          </a:bodyPr>
          <a:lstStyle/>
          <a:p>
            <a:pPr marL="0" lvl="2">
              <a:lnSpc>
                <a:spcPct val="90000"/>
              </a:lnSpc>
            </a:pPr>
            <a:r>
              <a:rPr lang="en-US" sz="1600">
                <a:solidFill>
                  <a:schemeClr val="bg1">
                    <a:lumMod val="75000"/>
                  </a:schemeClr>
                </a:solidFill>
              </a:rPr>
              <a:t>Aluminized (Bakeware only)</a:t>
            </a:r>
          </a:p>
        </p:txBody>
      </p:sp>
      <p:sp>
        <p:nvSpPr>
          <p:cNvPr id="17" name="TextBox 16">
            <a:extLst>
              <a:ext uri="{FF2B5EF4-FFF2-40B4-BE49-F238E27FC236}">
                <a16:creationId xmlns:a16="http://schemas.microsoft.com/office/drawing/2014/main" id="{B5ADC28C-6A0E-434B-93ED-70E4DBD8BD60}"/>
              </a:ext>
            </a:extLst>
          </p:cNvPr>
          <p:cNvSpPr txBox="1"/>
          <p:nvPr/>
        </p:nvSpPr>
        <p:spPr>
          <a:xfrm>
            <a:off x="2630360" y="196771"/>
            <a:ext cx="1839220" cy="369332"/>
          </a:xfrm>
          <a:prstGeom prst="rect">
            <a:avLst/>
          </a:prstGeom>
          <a:noFill/>
        </p:spPr>
        <p:txBody>
          <a:bodyPr wrap="square">
            <a:spAutoFit/>
          </a:bodyPr>
          <a:lstStyle/>
          <a:p>
            <a:pPr marL="0" lvl="2">
              <a:lnSpc>
                <a:spcPct val="90000"/>
              </a:lnSpc>
            </a:pPr>
            <a:r>
              <a:rPr lang="en-US" sz="2000" b="1">
                <a:solidFill>
                  <a:schemeClr val="bg1"/>
                </a:solidFill>
              </a:rPr>
              <a:t>Steel</a:t>
            </a:r>
          </a:p>
        </p:txBody>
      </p:sp>
      <p:sp>
        <p:nvSpPr>
          <p:cNvPr id="18" name="TextBox 17">
            <a:extLst>
              <a:ext uri="{FF2B5EF4-FFF2-40B4-BE49-F238E27FC236}">
                <a16:creationId xmlns:a16="http://schemas.microsoft.com/office/drawing/2014/main" id="{FCD12346-E7B4-4702-928E-E3CFAA6291B4}"/>
              </a:ext>
            </a:extLst>
          </p:cNvPr>
          <p:cNvSpPr txBox="1"/>
          <p:nvPr/>
        </p:nvSpPr>
        <p:spPr>
          <a:xfrm>
            <a:off x="2630360" y="1225731"/>
            <a:ext cx="3741865" cy="313932"/>
          </a:xfrm>
          <a:prstGeom prst="rect">
            <a:avLst/>
          </a:prstGeom>
          <a:noFill/>
        </p:spPr>
        <p:txBody>
          <a:bodyPr wrap="square">
            <a:spAutoFit/>
          </a:bodyPr>
          <a:lstStyle/>
          <a:p>
            <a:pPr marL="0" lvl="2">
              <a:lnSpc>
                <a:spcPct val="90000"/>
              </a:lnSpc>
            </a:pPr>
            <a:r>
              <a:rPr lang="en-US" sz="1600">
                <a:solidFill>
                  <a:schemeClr val="bg1">
                    <a:lumMod val="75000"/>
                  </a:schemeClr>
                </a:solidFill>
              </a:rPr>
              <a:t>TFS/ECCS (for coil coated products)</a:t>
            </a:r>
          </a:p>
        </p:txBody>
      </p:sp>
      <p:sp>
        <p:nvSpPr>
          <p:cNvPr id="23" name="TextBox 22">
            <a:extLst>
              <a:ext uri="{FF2B5EF4-FFF2-40B4-BE49-F238E27FC236}">
                <a16:creationId xmlns:a16="http://schemas.microsoft.com/office/drawing/2014/main" id="{446238A8-B398-4329-811F-6376060B5ED0}"/>
              </a:ext>
            </a:extLst>
          </p:cNvPr>
          <p:cNvSpPr txBox="1"/>
          <p:nvPr/>
        </p:nvSpPr>
        <p:spPr>
          <a:xfrm>
            <a:off x="2630361" y="1509150"/>
            <a:ext cx="1614691" cy="313932"/>
          </a:xfrm>
          <a:prstGeom prst="rect">
            <a:avLst/>
          </a:prstGeom>
          <a:noFill/>
        </p:spPr>
        <p:txBody>
          <a:bodyPr wrap="square">
            <a:spAutoFit/>
          </a:bodyPr>
          <a:lstStyle/>
          <a:p>
            <a:pPr marL="0" lvl="2">
              <a:lnSpc>
                <a:spcPct val="90000"/>
              </a:lnSpc>
            </a:pPr>
            <a:r>
              <a:rPr lang="en-US" sz="1600" b="1">
                <a:solidFill>
                  <a:schemeClr val="accent6"/>
                </a:solidFill>
              </a:rPr>
              <a:t>Carbon</a:t>
            </a:r>
          </a:p>
        </p:txBody>
      </p:sp>
      <p:pic>
        <p:nvPicPr>
          <p:cNvPr id="26" name="Picture 25">
            <a:extLst>
              <a:ext uri="{FF2B5EF4-FFF2-40B4-BE49-F238E27FC236}">
                <a16:creationId xmlns:a16="http://schemas.microsoft.com/office/drawing/2014/main" id="{8D4A7A69-FF58-45B3-BC98-DBABC2C9A689}"/>
              </a:ext>
            </a:extLst>
          </p:cNvPr>
          <p:cNvPicPr>
            <a:picLocks noChangeAspect="1"/>
          </p:cNvPicPr>
          <p:nvPr/>
        </p:nvPicPr>
        <p:blipFill rotWithShape="1">
          <a:blip r:embed="rId3"/>
          <a:srcRect t="8853" r="48396" b="7450"/>
          <a:stretch/>
        </p:blipFill>
        <p:spPr>
          <a:xfrm flipH="1">
            <a:off x="-3" y="-106517"/>
            <a:ext cx="2701650" cy="2268605"/>
          </a:xfrm>
          <a:prstGeom prst="rect">
            <a:avLst/>
          </a:prstGeom>
        </p:spPr>
      </p:pic>
      <p:sp>
        <p:nvSpPr>
          <p:cNvPr id="30" name="Content Placeholder 3">
            <a:extLst>
              <a:ext uri="{FF2B5EF4-FFF2-40B4-BE49-F238E27FC236}">
                <a16:creationId xmlns:a16="http://schemas.microsoft.com/office/drawing/2014/main" id="{B818C2FB-6B03-43F1-8188-828703758C77}"/>
              </a:ext>
            </a:extLst>
          </p:cNvPr>
          <p:cNvSpPr>
            <a:spLocks noGrp="1"/>
          </p:cNvSpPr>
          <p:nvPr>
            <p:ph idx="1"/>
          </p:nvPr>
        </p:nvSpPr>
        <p:spPr>
          <a:xfrm>
            <a:off x="535793" y="2358967"/>
            <a:ext cx="4839229" cy="3275293"/>
          </a:xfrm>
        </p:spPr>
        <p:txBody>
          <a:bodyPr vert="horz" lIns="0" tIns="0" rIns="0" bIns="0" rtlCol="0" anchor="t">
            <a:noAutofit/>
          </a:bodyPr>
          <a:lstStyle/>
          <a:p>
            <a:pPr marL="0" indent="0">
              <a:lnSpc>
                <a:spcPct val="90000"/>
              </a:lnSpc>
              <a:spcBef>
                <a:spcPts val="600"/>
              </a:spcBef>
              <a:buNone/>
            </a:pPr>
            <a:r>
              <a:rPr lang="en-US" sz="2000" b="1">
                <a:solidFill>
                  <a:schemeClr val="accent1"/>
                </a:solidFill>
              </a:rPr>
              <a:t>Product knowledge facts</a:t>
            </a:r>
            <a:endParaRPr lang="en-US" sz="1800" b="1" baseline="30000">
              <a:solidFill>
                <a:schemeClr val="accent1"/>
              </a:solidFill>
            </a:endParaRPr>
          </a:p>
          <a:p>
            <a:pPr marL="285115" indent="-285115">
              <a:lnSpc>
                <a:spcPct val="90000"/>
              </a:lnSpc>
              <a:spcBef>
                <a:spcPts val="600"/>
              </a:spcBef>
              <a:buClr>
                <a:schemeClr val="accent6"/>
              </a:buClr>
            </a:pPr>
            <a:r>
              <a:rPr lang="en-US" sz="1800"/>
              <a:t>The main alloying constituent is carbon in the range of 0.12 – 2.00%. It is priced much lower than stainless steel. </a:t>
            </a:r>
          </a:p>
          <a:p>
            <a:pPr marL="285115" indent="-285115">
              <a:lnSpc>
                <a:spcPct val="90000"/>
              </a:lnSpc>
              <a:spcBef>
                <a:spcPts val="600"/>
              </a:spcBef>
              <a:buClr>
                <a:schemeClr val="accent6"/>
              </a:buClr>
            </a:pPr>
            <a:r>
              <a:rPr lang="en-US" sz="1800"/>
              <a:t>Due to its tendency to rust quickly, special precautions must be taken to protect the surface against rust (zinc phosphate).</a:t>
            </a:r>
          </a:p>
          <a:p>
            <a:pPr marL="285115" indent="-285115">
              <a:lnSpc>
                <a:spcPct val="90000"/>
              </a:lnSpc>
              <a:spcBef>
                <a:spcPts val="600"/>
              </a:spcBef>
              <a:buClr>
                <a:schemeClr val="accent6"/>
              </a:buClr>
            </a:pPr>
            <a:r>
              <a:rPr lang="en-US" sz="1800"/>
              <a:t>Carbon steel bakeware may be produced by drawing or folding.</a:t>
            </a:r>
          </a:p>
        </p:txBody>
      </p:sp>
      <p:sp>
        <p:nvSpPr>
          <p:cNvPr id="32" name="Content Placeholder 3">
            <a:extLst>
              <a:ext uri="{FF2B5EF4-FFF2-40B4-BE49-F238E27FC236}">
                <a16:creationId xmlns:a16="http://schemas.microsoft.com/office/drawing/2014/main" id="{8043CE84-1042-4E74-AD7F-60DA0AFBB441}"/>
              </a:ext>
            </a:extLst>
          </p:cNvPr>
          <p:cNvSpPr txBox="1">
            <a:spLocks/>
          </p:cNvSpPr>
          <p:nvPr/>
        </p:nvSpPr>
        <p:spPr>
          <a:xfrm>
            <a:off x="5669159" y="2358967"/>
            <a:ext cx="6018348" cy="2820529"/>
          </a:xfrm>
          <a:prstGeom prst="rect">
            <a:avLst/>
          </a:prstGeom>
        </p:spPr>
        <p:txBody>
          <a:bodyPr vert="horz" lIns="0" tIns="0" rIns="0" bIns="0" rtlCol="0" anchor="t">
            <a:no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nSpc>
                <a:spcPct val="90000"/>
              </a:lnSpc>
              <a:spcBef>
                <a:spcPts val="600"/>
              </a:spcBef>
              <a:buNone/>
            </a:pPr>
            <a:r>
              <a:rPr lang="en-US" sz="2000" b="1">
                <a:solidFill>
                  <a:schemeClr val="accent1"/>
                </a:solidFill>
              </a:rPr>
              <a:t>Important details for non-stick coating application</a:t>
            </a:r>
            <a:endParaRPr lang="en-US" sz="2000" b="1" baseline="30000">
              <a:solidFill>
                <a:schemeClr val="accent1"/>
              </a:solidFill>
            </a:endParaRPr>
          </a:p>
          <a:p>
            <a:pPr marL="285115" indent="-285115">
              <a:lnSpc>
                <a:spcPct val="90000"/>
              </a:lnSpc>
              <a:spcBef>
                <a:spcPts val="600"/>
              </a:spcBef>
              <a:buClr>
                <a:schemeClr val="accent6"/>
              </a:buClr>
            </a:pPr>
            <a:r>
              <a:rPr lang="en-US" sz="1800"/>
              <a:t>Carbon steel should only use silicone-based / solvent-borne coatings. </a:t>
            </a:r>
          </a:p>
          <a:p>
            <a:pPr marL="285115" indent="-285115">
              <a:lnSpc>
                <a:spcPct val="90000"/>
              </a:lnSpc>
              <a:spcBef>
                <a:spcPts val="600"/>
              </a:spcBef>
              <a:buClr>
                <a:schemeClr val="accent6"/>
              </a:buClr>
            </a:pPr>
            <a:r>
              <a:rPr lang="en-US" sz="1800"/>
              <a:t>Waterborne coatings could cause flash rusting. </a:t>
            </a:r>
          </a:p>
        </p:txBody>
      </p:sp>
    </p:spTree>
    <p:extLst>
      <p:ext uri="{BB962C8B-B14F-4D97-AF65-F5344CB8AC3E}">
        <p14:creationId xmlns:p14="http://schemas.microsoft.com/office/powerpoint/2010/main" val="21889222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84D2A4A-CD2C-479A-8E77-027A67D42701}"/>
              </a:ext>
            </a:extLst>
          </p:cNvPr>
          <p:cNvPicPr>
            <a:picLocks noChangeAspect="1"/>
          </p:cNvPicPr>
          <p:nvPr/>
        </p:nvPicPr>
        <p:blipFill rotWithShape="1">
          <a:blip r:embed="rId2"/>
          <a:srcRect t="6306"/>
          <a:stretch/>
        </p:blipFill>
        <p:spPr>
          <a:xfrm>
            <a:off x="-11863" y="892"/>
            <a:ext cx="10328603" cy="6866578"/>
          </a:xfrm>
          <a:prstGeom prst="rect">
            <a:avLst/>
          </a:prstGeom>
        </p:spPr>
      </p:pic>
      <p:grpSp>
        <p:nvGrpSpPr>
          <p:cNvPr id="2" name="Group 1">
            <a:extLst>
              <a:ext uri="{FF2B5EF4-FFF2-40B4-BE49-F238E27FC236}">
                <a16:creationId xmlns:a16="http://schemas.microsoft.com/office/drawing/2014/main" id="{A1DCF230-7A93-44D3-ACBD-461C80028103}"/>
              </a:ext>
            </a:extLst>
          </p:cNvPr>
          <p:cNvGrpSpPr/>
          <p:nvPr/>
        </p:nvGrpSpPr>
        <p:grpSpPr>
          <a:xfrm>
            <a:off x="6283993" y="892"/>
            <a:ext cx="5892156" cy="6866578"/>
            <a:chOff x="6296668" y="892"/>
            <a:chExt cx="5892156" cy="6891986"/>
          </a:xfrm>
        </p:grpSpPr>
        <p:sp>
          <p:nvSpPr>
            <p:cNvPr id="4" name="Rectangle 3">
              <a:extLst>
                <a:ext uri="{FF2B5EF4-FFF2-40B4-BE49-F238E27FC236}">
                  <a16:creationId xmlns:a16="http://schemas.microsoft.com/office/drawing/2014/main" id="{9B06D738-7ED0-4A31-A47A-601646F771BC}"/>
                </a:ext>
              </a:extLst>
            </p:cNvPr>
            <p:cNvSpPr/>
            <p:nvPr/>
          </p:nvSpPr>
          <p:spPr>
            <a:xfrm>
              <a:off x="9766872" y="892"/>
              <a:ext cx="2421952" cy="689198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6" name="Rectangle 5">
              <a:extLst>
                <a:ext uri="{FF2B5EF4-FFF2-40B4-BE49-F238E27FC236}">
                  <a16:creationId xmlns:a16="http://schemas.microsoft.com/office/drawing/2014/main" id="{EB60A3F1-6DE7-42A0-BC14-9C6BA0E949C3}"/>
                </a:ext>
              </a:extLst>
            </p:cNvPr>
            <p:cNvSpPr/>
            <p:nvPr/>
          </p:nvSpPr>
          <p:spPr>
            <a:xfrm>
              <a:off x="6296668" y="892"/>
              <a:ext cx="3508228" cy="6891986"/>
            </a:xfrm>
            <a:custGeom>
              <a:avLst/>
              <a:gdLst>
                <a:gd name="connsiteX0" fmla="*/ 0 w 5613621"/>
                <a:gd name="connsiteY0" fmla="*/ 0 h 5613621"/>
                <a:gd name="connsiteX1" fmla="*/ 5613621 w 5613621"/>
                <a:gd name="connsiteY1" fmla="*/ 0 h 5613621"/>
                <a:gd name="connsiteX2" fmla="*/ 5613621 w 5613621"/>
                <a:gd name="connsiteY2" fmla="*/ 5613621 h 5613621"/>
                <a:gd name="connsiteX3" fmla="*/ 0 w 5613621"/>
                <a:gd name="connsiteY3" fmla="*/ 5613621 h 5613621"/>
                <a:gd name="connsiteX4" fmla="*/ 0 w 5613621"/>
                <a:gd name="connsiteY4" fmla="*/ 0 h 5613621"/>
                <a:gd name="connsiteX0" fmla="*/ 0 w 5613621"/>
                <a:gd name="connsiteY0" fmla="*/ 5613621 h 5613621"/>
                <a:gd name="connsiteX1" fmla="*/ 5613621 w 5613621"/>
                <a:gd name="connsiteY1" fmla="*/ 0 h 5613621"/>
                <a:gd name="connsiteX2" fmla="*/ 5613621 w 5613621"/>
                <a:gd name="connsiteY2" fmla="*/ 5613621 h 5613621"/>
                <a:gd name="connsiteX3" fmla="*/ 0 w 5613621"/>
                <a:gd name="connsiteY3" fmla="*/ 5613621 h 5613621"/>
              </a:gdLst>
              <a:ahLst/>
              <a:cxnLst>
                <a:cxn ang="0">
                  <a:pos x="connsiteX0" y="connsiteY0"/>
                </a:cxn>
                <a:cxn ang="0">
                  <a:pos x="connsiteX1" y="connsiteY1"/>
                </a:cxn>
                <a:cxn ang="0">
                  <a:pos x="connsiteX2" y="connsiteY2"/>
                </a:cxn>
                <a:cxn ang="0">
                  <a:pos x="connsiteX3" y="connsiteY3"/>
                </a:cxn>
              </a:cxnLst>
              <a:rect l="l" t="t" r="r" b="b"/>
              <a:pathLst>
                <a:path w="5613621" h="5613621">
                  <a:moveTo>
                    <a:pt x="0" y="5613621"/>
                  </a:moveTo>
                  <a:lnTo>
                    <a:pt x="5613621" y="0"/>
                  </a:lnTo>
                  <a:lnTo>
                    <a:pt x="5613621" y="5613621"/>
                  </a:lnTo>
                  <a:lnTo>
                    <a:pt x="0" y="5613621"/>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grpSp>
      <p:sp>
        <p:nvSpPr>
          <p:cNvPr id="3" name="Title 2"/>
          <p:cNvSpPr>
            <a:spLocks noGrp="1"/>
          </p:cNvSpPr>
          <p:nvPr>
            <p:ph type="ctrTitle"/>
          </p:nvPr>
        </p:nvSpPr>
        <p:spPr>
          <a:xfrm>
            <a:off x="8161360" y="4556430"/>
            <a:ext cx="3234520" cy="984077"/>
          </a:xfrm>
        </p:spPr>
        <p:txBody>
          <a:bodyPr>
            <a:normAutofit fontScale="90000"/>
          </a:bodyPr>
          <a:lstStyle/>
          <a:p>
            <a:pPr algn="r"/>
            <a:r>
              <a:rPr lang="en-US" sz="3599">
                <a:solidFill>
                  <a:schemeClr val="bg1"/>
                </a:solidFill>
              </a:rPr>
              <a:t>Problem-</a:t>
            </a:r>
            <a:br>
              <a:rPr lang="en-US" sz="3599">
                <a:solidFill>
                  <a:schemeClr val="bg1"/>
                </a:solidFill>
              </a:rPr>
            </a:br>
            <a:r>
              <a:rPr lang="en-US" sz="3599">
                <a:solidFill>
                  <a:schemeClr val="bg1"/>
                </a:solidFill>
              </a:rPr>
              <a:t>solving chart</a:t>
            </a:r>
          </a:p>
        </p:txBody>
      </p:sp>
      <p:grpSp>
        <p:nvGrpSpPr>
          <p:cNvPr id="8" name="Group 7">
            <a:extLst>
              <a:ext uri="{FF2B5EF4-FFF2-40B4-BE49-F238E27FC236}">
                <a16:creationId xmlns:a16="http://schemas.microsoft.com/office/drawing/2014/main" id="{A9360C37-1C5C-4C2D-AD16-23978B050840}"/>
              </a:ext>
            </a:extLst>
          </p:cNvPr>
          <p:cNvGrpSpPr/>
          <p:nvPr/>
        </p:nvGrpSpPr>
        <p:grpSpPr>
          <a:xfrm>
            <a:off x="11248166" y="6140170"/>
            <a:ext cx="697906" cy="551833"/>
            <a:chOff x="9440863" y="5832475"/>
            <a:chExt cx="1092200" cy="863600"/>
          </a:xfrm>
        </p:grpSpPr>
        <p:sp>
          <p:nvSpPr>
            <p:cNvPr id="9" name="AutoShape 3">
              <a:extLst>
                <a:ext uri="{FF2B5EF4-FFF2-40B4-BE49-F238E27FC236}">
                  <a16:creationId xmlns:a16="http://schemas.microsoft.com/office/drawing/2014/main" id="{6EF11D5D-E156-4CBC-BD9C-449EC85EAEAD}"/>
                </a:ext>
              </a:extLst>
            </p:cNvPr>
            <p:cNvSpPr>
              <a:spLocks noChangeAspect="1" noChangeArrowheads="1" noTextEdit="1"/>
            </p:cNvSpPr>
            <p:nvPr/>
          </p:nvSpPr>
          <p:spPr bwMode="auto">
            <a:xfrm>
              <a:off x="9440863" y="5832475"/>
              <a:ext cx="109220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0" name="Freeform 5">
              <a:extLst>
                <a:ext uri="{FF2B5EF4-FFF2-40B4-BE49-F238E27FC236}">
                  <a16:creationId xmlns:a16="http://schemas.microsoft.com/office/drawing/2014/main" id="{CDDB7B7A-A8EE-4606-B44A-7BC160C8F68C}"/>
                </a:ext>
              </a:extLst>
            </p:cNvPr>
            <p:cNvSpPr>
              <a:spLocks/>
            </p:cNvSpPr>
            <p:nvPr/>
          </p:nvSpPr>
          <p:spPr bwMode="auto">
            <a:xfrm>
              <a:off x="9440863" y="5832475"/>
              <a:ext cx="1092200" cy="863600"/>
            </a:xfrm>
            <a:custGeom>
              <a:avLst/>
              <a:gdLst>
                <a:gd name="T0" fmla="*/ 130 w 688"/>
                <a:gd name="T1" fmla="*/ 544 h 544"/>
                <a:gd name="T2" fmla="*/ 116 w 688"/>
                <a:gd name="T3" fmla="*/ 544 h 544"/>
                <a:gd name="T4" fmla="*/ 90 w 688"/>
                <a:gd name="T5" fmla="*/ 538 h 544"/>
                <a:gd name="T6" fmla="*/ 68 w 688"/>
                <a:gd name="T7" fmla="*/ 528 h 544"/>
                <a:gd name="T8" fmla="*/ 38 w 688"/>
                <a:gd name="T9" fmla="*/ 506 h 544"/>
                <a:gd name="T10" fmla="*/ 16 w 688"/>
                <a:gd name="T11" fmla="*/ 476 h 544"/>
                <a:gd name="T12" fmla="*/ 6 w 688"/>
                <a:gd name="T13" fmla="*/ 454 h 544"/>
                <a:gd name="T14" fmla="*/ 0 w 688"/>
                <a:gd name="T15" fmla="*/ 428 h 544"/>
                <a:gd name="T16" fmla="*/ 0 w 688"/>
                <a:gd name="T17" fmla="*/ 130 h 544"/>
                <a:gd name="T18" fmla="*/ 0 w 688"/>
                <a:gd name="T19" fmla="*/ 116 h 544"/>
                <a:gd name="T20" fmla="*/ 6 w 688"/>
                <a:gd name="T21" fmla="*/ 92 h 544"/>
                <a:gd name="T22" fmla="*/ 16 w 688"/>
                <a:gd name="T23" fmla="*/ 68 h 544"/>
                <a:gd name="T24" fmla="*/ 38 w 688"/>
                <a:gd name="T25" fmla="*/ 38 h 544"/>
                <a:gd name="T26" fmla="*/ 68 w 688"/>
                <a:gd name="T27" fmla="*/ 16 h 544"/>
                <a:gd name="T28" fmla="*/ 90 w 688"/>
                <a:gd name="T29" fmla="*/ 6 h 544"/>
                <a:gd name="T30" fmla="*/ 116 w 688"/>
                <a:gd name="T31" fmla="*/ 0 h 544"/>
                <a:gd name="T32" fmla="*/ 558 w 688"/>
                <a:gd name="T33" fmla="*/ 0 h 544"/>
                <a:gd name="T34" fmla="*/ 572 w 688"/>
                <a:gd name="T35" fmla="*/ 0 h 544"/>
                <a:gd name="T36" fmla="*/ 596 w 688"/>
                <a:gd name="T37" fmla="*/ 6 h 544"/>
                <a:gd name="T38" fmla="*/ 620 w 688"/>
                <a:gd name="T39" fmla="*/ 16 h 544"/>
                <a:gd name="T40" fmla="*/ 650 w 688"/>
                <a:gd name="T41" fmla="*/ 38 h 544"/>
                <a:gd name="T42" fmla="*/ 672 w 688"/>
                <a:gd name="T43" fmla="*/ 68 h 544"/>
                <a:gd name="T44" fmla="*/ 682 w 688"/>
                <a:gd name="T45" fmla="*/ 92 h 544"/>
                <a:gd name="T46" fmla="*/ 688 w 688"/>
                <a:gd name="T47" fmla="*/ 116 h 544"/>
                <a:gd name="T48" fmla="*/ 688 w 688"/>
                <a:gd name="T49" fmla="*/ 414 h 544"/>
                <a:gd name="T50" fmla="*/ 688 w 688"/>
                <a:gd name="T51" fmla="*/ 428 h 544"/>
                <a:gd name="T52" fmla="*/ 682 w 688"/>
                <a:gd name="T53" fmla="*/ 454 h 544"/>
                <a:gd name="T54" fmla="*/ 672 w 688"/>
                <a:gd name="T55" fmla="*/ 476 h 544"/>
                <a:gd name="T56" fmla="*/ 650 w 688"/>
                <a:gd name="T57" fmla="*/ 506 h 544"/>
                <a:gd name="T58" fmla="*/ 620 w 688"/>
                <a:gd name="T59" fmla="*/ 528 h 544"/>
                <a:gd name="T60" fmla="*/ 596 w 688"/>
                <a:gd name="T61" fmla="*/ 538 h 544"/>
                <a:gd name="T62" fmla="*/ 572 w 688"/>
                <a:gd name="T63" fmla="*/ 544 h 544"/>
                <a:gd name="T64" fmla="*/ 558 w 688"/>
                <a:gd name="T65" fmla="*/ 544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8" h="544">
                  <a:moveTo>
                    <a:pt x="558" y="544"/>
                  </a:moveTo>
                  <a:lnTo>
                    <a:pt x="130" y="544"/>
                  </a:lnTo>
                  <a:lnTo>
                    <a:pt x="130" y="544"/>
                  </a:lnTo>
                  <a:lnTo>
                    <a:pt x="116" y="544"/>
                  </a:lnTo>
                  <a:lnTo>
                    <a:pt x="104" y="542"/>
                  </a:lnTo>
                  <a:lnTo>
                    <a:pt x="90" y="538"/>
                  </a:lnTo>
                  <a:lnTo>
                    <a:pt x="78" y="534"/>
                  </a:lnTo>
                  <a:lnTo>
                    <a:pt x="68" y="528"/>
                  </a:lnTo>
                  <a:lnTo>
                    <a:pt x="56" y="522"/>
                  </a:lnTo>
                  <a:lnTo>
                    <a:pt x="38" y="506"/>
                  </a:lnTo>
                  <a:lnTo>
                    <a:pt x="22" y="488"/>
                  </a:lnTo>
                  <a:lnTo>
                    <a:pt x="16" y="476"/>
                  </a:lnTo>
                  <a:lnTo>
                    <a:pt x="10" y="466"/>
                  </a:lnTo>
                  <a:lnTo>
                    <a:pt x="6" y="454"/>
                  </a:lnTo>
                  <a:lnTo>
                    <a:pt x="2" y="440"/>
                  </a:lnTo>
                  <a:lnTo>
                    <a:pt x="0" y="428"/>
                  </a:lnTo>
                  <a:lnTo>
                    <a:pt x="0" y="414"/>
                  </a:lnTo>
                  <a:lnTo>
                    <a:pt x="0" y="130"/>
                  </a:lnTo>
                  <a:lnTo>
                    <a:pt x="0" y="130"/>
                  </a:lnTo>
                  <a:lnTo>
                    <a:pt x="0" y="116"/>
                  </a:lnTo>
                  <a:lnTo>
                    <a:pt x="2" y="104"/>
                  </a:lnTo>
                  <a:lnTo>
                    <a:pt x="6" y="92"/>
                  </a:lnTo>
                  <a:lnTo>
                    <a:pt x="10" y="80"/>
                  </a:lnTo>
                  <a:lnTo>
                    <a:pt x="16" y="68"/>
                  </a:lnTo>
                  <a:lnTo>
                    <a:pt x="22" y="58"/>
                  </a:lnTo>
                  <a:lnTo>
                    <a:pt x="38" y="38"/>
                  </a:lnTo>
                  <a:lnTo>
                    <a:pt x="56" y="22"/>
                  </a:lnTo>
                  <a:lnTo>
                    <a:pt x="68" y="16"/>
                  </a:lnTo>
                  <a:lnTo>
                    <a:pt x="78" y="10"/>
                  </a:lnTo>
                  <a:lnTo>
                    <a:pt x="90" y="6"/>
                  </a:lnTo>
                  <a:lnTo>
                    <a:pt x="104" y="2"/>
                  </a:lnTo>
                  <a:lnTo>
                    <a:pt x="116" y="0"/>
                  </a:lnTo>
                  <a:lnTo>
                    <a:pt x="130" y="0"/>
                  </a:lnTo>
                  <a:lnTo>
                    <a:pt x="558" y="0"/>
                  </a:lnTo>
                  <a:lnTo>
                    <a:pt x="558" y="0"/>
                  </a:lnTo>
                  <a:lnTo>
                    <a:pt x="572" y="0"/>
                  </a:lnTo>
                  <a:lnTo>
                    <a:pt x="584" y="2"/>
                  </a:lnTo>
                  <a:lnTo>
                    <a:pt x="596" y="6"/>
                  </a:lnTo>
                  <a:lnTo>
                    <a:pt x="608" y="10"/>
                  </a:lnTo>
                  <a:lnTo>
                    <a:pt x="620" y="16"/>
                  </a:lnTo>
                  <a:lnTo>
                    <a:pt x="630" y="22"/>
                  </a:lnTo>
                  <a:lnTo>
                    <a:pt x="650" y="38"/>
                  </a:lnTo>
                  <a:lnTo>
                    <a:pt x="666" y="58"/>
                  </a:lnTo>
                  <a:lnTo>
                    <a:pt x="672" y="68"/>
                  </a:lnTo>
                  <a:lnTo>
                    <a:pt x="678" y="80"/>
                  </a:lnTo>
                  <a:lnTo>
                    <a:pt x="682" y="92"/>
                  </a:lnTo>
                  <a:lnTo>
                    <a:pt x="686" y="104"/>
                  </a:lnTo>
                  <a:lnTo>
                    <a:pt x="688" y="116"/>
                  </a:lnTo>
                  <a:lnTo>
                    <a:pt x="688" y="130"/>
                  </a:lnTo>
                  <a:lnTo>
                    <a:pt x="688" y="414"/>
                  </a:lnTo>
                  <a:lnTo>
                    <a:pt x="688" y="414"/>
                  </a:lnTo>
                  <a:lnTo>
                    <a:pt x="688" y="428"/>
                  </a:lnTo>
                  <a:lnTo>
                    <a:pt x="686" y="440"/>
                  </a:lnTo>
                  <a:lnTo>
                    <a:pt x="682" y="454"/>
                  </a:lnTo>
                  <a:lnTo>
                    <a:pt x="678" y="466"/>
                  </a:lnTo>
                  <a:lnTo>
                    <a:pt x="672" y="476"/>
                  </a:lnTo>
                  <a:lnTo>
                    <a:pt x="666" y="488"/>
                  </a:lnTo>
                  <a:lnTo>
                    <a:pt x="650" y="506"/>
                  </a:lnTo>
                  <a:lnTo>
                    <a:pt x="630" y="522"/>
                  </a:lnTo>
                  <a:lnTo>
                    <a:pt x="620" y="528"/>
                  </a:lnTo>
                  <a:lnTo>
                    <a:pt x="608" y="534"/>
                  </a:lnTo>
                  <a:lnTo>
                    <a:pt x="596" y="538"/>
                  </a:lnTo>
                  <a:lnTo>
                    <a:pt x="584" y="542"/>
                  </a:lnTo>
                  <a:lnTo>
                    <a:pt x="572" y="544"/>
                  </a:lnTo>
                  <a:lnTo>
                    <a:pt x="558" y="544"/>
                  </a:lnTo>
                  <a:lnTo>
                    <a:pt x="558" y="5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1" name="Freeform 6">
              <a:extLst>
                <a:ext uri="{FF2B5EF4-FFF2-40B4-BE49-F238E27FC236}">
                  <a16:creationId xmlns:a16="http://schemas.microsoft.com/office/drawing/2014/main" id="{74B431EA-9C67-45E4-B298-3830B15E829F}"/>
                </a:ext>
              </a:extLst>
            </p:cNvPr>
            <p:cNvSpPr>
              <a:spLocks/>
            </p:cNvSpPr>
            <p:nvPr/>
          </p:nvSpPr>
          <p:spPr bwMode="auto">
            <a:xfrm>
              <a:off x="9475788" y="5870575"/>
              <a:ext cx="1019175" cy="790575"/>
            </a:xfrm>
            <a:custGeom>
              <a:avLst/>
              <a:gdLst>
                <a:gd name="T0" fmla="*/ 536 w 642"/>
                <a:gd name="T1" fmla="*/ 498 h 498"/>
                <a:gd name="T2" fmla="*/ 108 w 642"/>
                <a:gd name="T3" fmla="*/ 498 h 498"/>
                <a:gd name="T4" fmla="*/ 108 w 642"/>
                <a:gd name="T5" fmla="*/ 498 h 498"/>
                <a:gd name="T6" fmla="*/ 86 w 642"/>
                <a:gd name="T7" fmla="*/ 496 h 498"/>
                <a:gd name="T8" fmla="*/ 66 w 642"/>
                <a:gd name="T9" fmla="*/ 490 h 498"/>
                <a:gd name="T10" fmla="*/ 48 w 642"/>
                <a:gd name="T11" fmla="*/ 480 h 498"/>
                <a:gd name="T12" fmla="*/ 32 w 642"/>
                <a:gd name="T13" fmla="*/ 466 h 498"/>
                <a:gd name="T14" fmla="*/ 18 w 642"/>
                <a:gd name="T15" fmla="*/ 450 h 498"/>
                <a:gd name="T16" fmla="*/ 8 w 642"/>
                <a:gd name="T17" fmla="*/ 432 h 498"/>
                <a:gd name="T18" fmla="*/ 2 w 642"/>
                <a:gd name="T19" fmla="*/ 412 h 498"/>
                <a:gd name="T20" fmla="*/ 0 w 642"/>
                <a:gd name="T21" fmla="*/ 390 h 498"/>
                <a:gd name="T22" fmla="*/ 0 w 642"/>
                <a:gd name="T23" fmla="*/ 106 h 498"/>
                <a:gd name="T24" fmla="*/ 0 w 642"/>
                <a:gd name="T25" fmla="*/ 106 h 498"/>
                <a:gd name="T26" fmla="*/ 2 w 642"/>
                <a:gd name="T27" fmla="*/ 84 h 498"/>
                <a:gd name="T28" fmla="*/ 8 w 642"/>
                <a:gd name="T29" fmla="*/ 64 h 498"/>
                <a:gd name="T30" fmla="*/ 18 w 642"/>
                <a:gd name="T31" fmla="*/ 46 h 498"/>
                <a:gd name="T32" fmla="*/ 32 w 642"/>
                <a:gd name="T33" fmla="*/ 30 h 498"/>
                <a:gd name="T34" fmla="*/ 48 w 642"/>
                <a:gd name="T35" fmla="*/ 18 h 498"/>
                <a:gd name="T36" fmla="*/ 66 w 642"/>
                <a:gd name="T37" fmla="*/ 8 h 498"/>
                <a:gd name="T38" fmla="*/ 86 w 642"/>
                <a:gd name="T39" fmla="*/ 2 h 498"/>
                <a:gd name="T40" fmla="*/ 108 w 642"/>
                <a:gd name="T41" fmla="*/ 0 h 498"/>
                <a:gd name="T42" fmla="*/ 536 w 642"/>
                <a:gd name="T43" fmla="*/ 0 h 498"/>
                <a:gd name="T44" fmla="*/ 536 w 642"/>
                <a:gd name="T45" fmla="*/ 0 h 498"/>
                <a:gd name="T46" fmla="*/ 558 w 642"/>
                <a:gd name="T47" fmla="*/ 2 h 498"/>
                <a:gd name="T48" fmla="*/ 578 w 642"/>
                <a:gd name="T49" fmla="*/ 8 h 498"/>
                <a:gd name="T50" fmla="*/ 596 w 642"/>
                <a:gd name="T51" fmla="*/ 18 h 498"/>
                <a:gd name="T52" fmla="*/ 612 w 642"/>
                <a:gd name="T53" fmla="*/ 30 h 498"/>
                <a:gd name="T54" fmla="*/ 624 w 642"/>
                <a:gd name="T55" fmla="*/ 46 h 498"/>
                <a:gd name="T56" fmla="*/ 634 w 642"/>
                <a:gd name="T57" fmla="*/ 64 h 498"/>
                <a:gd name="T58" fmla="*/ 640 w 642"/>
                <a:gd name="T59" fmla="*/ 84 h 498"/>
                <a:gd name="T60" fmla="*/ 642 w 642"/>
                <a:gd name="T61" fmla="*/ 106 h 498"/>
                <a:gd name="T62" fmla="*/ 642 w 642"/>
                <a:gd name="T63" fmla="*/ 390 h 498"/>
                <a:gd name="T64" fmla="*/ 642 w 642"/>
                <a:gd name="T65" fmla="*/ 390 h 498"/>
                <a:gd name="T66" fmla="*/ 640 w 642"/>
                <a:gd name="T67" fmla="*/ 412 h 498"/>
                <a:gd name="T68" fmla="*/ 634 w 642"/>
                <a:gd name="T69" fmla="*/ 432 h 498"/>
                <a:gd name="T70" fmla="*/ 624 w 642"/>
                <a:gd name="T71" fmla="*/ 450 h 498"/>
                <a:gd name="T72" fmla="*/ 612 w 642"/>
                <a:gd name="T73" fmla="*/ 466 h 498"/>
                <a:gd name="T74" fmla="*/ 596 w 642"/>
                <a:gd name="T75" fmla="*/ 480 h 498"/>
                <a:gd name="T76" fmla="*/ 578 w 642"/>
                <a:gd name="T77" fmla="*/ 490 h 498"/>
                <a:gd name="T78" fmla="*/ 558 w 642"/>
                <a:gd name="T79" fmla="*/ 496 h 498"/>
                <a:gd name="T80" fmla="*/ 536 w 642"/>
                <a:gd name="T81" fmla="*/ 498 h 498"/>
                <a:gd name="T82" fmla="*/ 536 w 642"/>
                <a:gd name="T83"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2" h="498">
                  <a:moveTo>
                    <a:pt x="536" y="498"/>
                  </a:moveTo>
                  <a:lnTo>
                    <a:pt x="108" y="498"/>
                  </a:lnTo>
                  <a:lnTo>
                    <a:pt x="108" y="498"/>
                  </a:lnTo>
                  <a:lnTo>
                    <a:pt x="86" y="496"/>
                  </a:lnTo>
                  <a:lnTo>
                    <a:pt x="66" y="490"/>
                  </a:lnTo>
                  <a:lnTo>
                    <a:pt x="48" y="480"/>
                  </a:lnTo>
                  <a:lnTo>
                    <a:pt x="32" y="466"/>
                  </a:lnTo>
                  <a:lnTo>
                    <a:pt x="18" y="450"/>
                  </a:lnTo>
                  <a:lnTo>
                    <a:pt x="8" y="432"/>
                  </a:lnTo>
                  <a:lnTo>
                    <a:pt x="2" y="412"/>
                  </a:lnTo>
                  <a:lnTo>
                    <a:pt x="0" y="390"/>
                  </a:lnTo>
                  <a:lnTo>
                    <a:pt x="0" y="106"/>
                  </a:lnTo>
                  <a:lnTo>
                    <a:pt x="0" y="106"/>
                  </a:lnTo>
                  <a:lnTo>
                    <a:pt x="2" y="84"/>
                  </a:lnTo>
                  <a:lnTo>
                    <a:pt x="8" y="64"/>
                  </a:lnTo>
                  <a:lnTo>
                    <a:pt x="18" y="46"/>
                  </a:lnTo>
                  <a:lnTo>
                    <a:pt x="32" y="30"/>
                  </a:lnTo>
                  <a:lnTo>
                    <a:pt x="48" y="18"/>
                  </a:lnTo>
                  <a:lnTo>
                    <a:pt x="66" y="8"/>
                  </a:lnTo>
                  <a:lnTo>
                    <a:pt x="86" y="2"/>
                  </a:lnTo>
                  <a:lnTo>
                    <a:pt x="108" y="0"/>
                  </a:lnTo>
                  <a:lnTo>
                    <a:pt x="536" y="0"/>
                  </a:lnTo>
                  <a:lnTo>
                    <a:pt x="536" y="0"/>
                  </a:lnTo>
                  <a:lnTo>
                    <a:pt x="558" y="2"/>
                  </a:lnTo>
                  <a:lnTo>
                    <a:pt x="578" y="8"/>
                  </a:lnTo>
                  <a:lnTo>
                    <a:pt x="596" y="18"/>
                  </a:lnTo>
                  <a:lnTo>
                    <a:pt x="612" y="30"/>
                  </a:lnTo>
                  <a:lnTo>
                    <a:pt x="624" y="46"/>
                  </a:lnTo>
                  <a:lnTo>
                    <a:pt x="634" y="64"/>
                  </a:lnTo>
                  <a:lnTo>
                    <a:pt x="640" y="84"/>
                  </a:lnTo>
                  <a:lnTo>
                    <a:pt x="642" y="106"/>
                  </a:lnTo>
                  <a:lnTo>
                    <a:pt x="642" y="390"/>
                  </a:lnTo>
                  <a:lnTo>
                    <a:pt x="642" y="390"/>
                  </a:lnTo>
                  <a:lnTo>
                    <a:pt x="640" y="412"/>
                  </a:lnTo>
                  <a:lnTo>
                    <a:pt x="634" y="432"/>
                  </a:lnTo>
                  <a:lnTo>
                    <a:pt x="624" y="450"/>
                  </a:lnTo>
                  <a:lnTo>
                    <a:pt x="612" y="466"/>
                  </a:lnTo>
                  <a:lnTo>
                    <a:pt x="596" y="480"/>
                  </a:lnTo>
                  <a:lnTo>
                    <a:pt x="578" y="490"/>
                  </a:lnTo>
                  <a:lnTo>
                    <a:pt x="558" y="496"/>
                  </a:lnTo>
                  <a:lnTo>
                    <a:pt x="536" y="498"/>
                  </a:lnTo>
                  <a:lnTo>
                    <a:pt x="536" y="498"/>
                  </a:lnTo>
                  <a:close/>
                </a:path>
              </a:pathLst>
            </a:custGeom>
            <a:solidFill>
              <a:srgbClr val="0078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2" name="Freeform 7">
              <a:extLst>
                <a:ext uri="{FF2B5EF4-FFF2-40B4-BE49-F238E27FC236}">
                  <a16:creationId xmlns:a16="http://schemas.microsoft.com/office/drawing/2014/main" id="{1404339F-FB6C-4B06-8713-A118396DD7B3}"/>
                </a:ext>
              </a:extLst>
            </p:cNvPr>
            <p:cNvSpPr>
              <a:spLocks noEditPoints="1"/>
            </p:cNvSpPr>
            <p:nvPr/>
          </p:nvSpPr>
          <p:spPr bwMode="auto">
            <a:xfrm>
              <a:off x="9523413" y="5940425"/>
              <a:ext cx="923925" cy="647700"/>
            </a:xfrm>
            <a:custGeom>
              <a:avLst/>
              <a:gdLst>
                <a:gd name="T0" fmla="*/ 530 w 582"/>
                <a:gd name="T1" fmla="*/ 115 h 408"/>
                <a:gd name="T2" fmla="*/ 582 w 582"/>
                <a:gd name="T3" fmla="*/ 135 h 408"/>
                <a:gd name="T4" fmla="*/ 538 w 582"/>
                <a:gd name="T5" fmla="*/ 75 h 408"/>
                <a:gd name="T6" fmla="*/ 476 w 582"/>
                <a:gd name="T7" fmla="*/ 83 h 408"/>
                <a:gd name="T8" fmla="*/ 439 w 582"/>
                <a:gd name="T9" fmla="*/ 105 h 408"/>
                <a:gd name="T10" fmla="*/ 421 w 582"/>
                <a:gd name="T11" fmla="*/ 129 h 408"/>
                <a:gd name="T12" fmla="*/ 411 w 582"/>
                <a:gd name="T13" fmla="*/ 64 h 408"/>
                <a:gd name="T14" fmla="*/ 375 w 582"/>
                <a:gd name="T15" fmla="*/ 18 h 408"/>
                <a:gd name="T16" fmla="*/ 303 w 582"/>
                <a:gd name="T17" fmla="*/ 2 h 408"/>
                <a:gd name="T18" fmla="*/ 173 w 582"/>
                <a:gd name="T19" fmla="*/ 0 h 408"/>
                <a:gd name="T20" fmla="*/ 165 w 582"/>
                <a:gd name="T21" fmla="*/ 105 h 408"/>
                <a:gd name="T22" fmla="*/ 125 w 582"/>
                <a:gd name="T23" fmla="*/ 81 h 408"/>
                <a:gd name="T24" fmla="*/ 48 w 582"/>
                <a:gd name="T25" fmla="*/ 77 h 408"/>
                <a:gd name="T26" fmla="*/ 78 w 582"/>
                <a:gd name="T27" fmla="*/ 331 h 408"/>
                <a:gd name="T28" fmla="*/ 58 w 582"/>
                <a:gd name="T29" fmla="*/ 299 h 408"/>
                <a:gd name="T30" fmla="*/ 94 w 582"/>
                <a:gd name="T31" fmla="*/ 255 h 408"/>
                <a:gd name="T32" fmla="*/ 129 w 582"/>
                <a:gd name="T33" fmla="*/ 249 h 408"/>
                <a:gd name="T34" fmla="*/ 167 w 582"/>
                <a:gd name="T35" fmla="*/ 217 h 408"/>
                <a:gd name="T36" fmla="*/ 265 w 582"/>
                <a:gd name="T37" fmla="*/ 408 h 408"/>
                <a:gd name="T38" fmla="*/ 245 w 582"/>
                <a:gd name="T39" fmla="*/ 376 h 408"/>
                <a:gd name="T40" fmla="*/ 295 w 582"/>
                <a:gd name="T41" fmla="*/ 277 h 408"/>
                <a:gd name="T42" fmla="*/ 345 w 582"/>
                <a:gd name="T43" fmla="*/ 269 h 408"/>
                <a:gd name="T44" fmla="*/ 395 w 582"/>
                <a:gd name="T45" fmla="*/ 231 h 408"/>
                <a:gd name="T46" fmla="*/ 409 w 582"/>
                <a:gd name="T47" fmla="*/ 249 h 408"/>
                <a:gd name="T48" fmla="*/ 439 w 582"/>
                <a:gd name="T49" fmla="*/ 307 h 408"/>
                <a:gd name="T50" fmla="*/ 486 w 582"/>
                <a:gd name="T51" fmla="*/ 329 h 408"/>
                <a:gd name="T52" fmla="*/ 536 w 582"/>
                <a:gd name="T53" fmla="*/ 333 h 408"/>
                <a:gd name="T54" fmla="*/ 512 w 582"/>
                <a:gd name="T55" fmla="*/ 205 h 408"/>
                <a:gd name="T56" fmla="*/ 530 w 582"/>
                <a:gd name="T57" fmla="*/ 225 h 408"/>
                <a:gd name="T58" fmla="*/ 520 w 582"/>
                <a:gd name="T59" fmla="*/ 293 h 408"/>
                <a:gd name="T60" fmla="*/ 482 w 582"/>
                <a:gd name="T61" fmla="*/ 277 h 408"/>
                <a:gd name="T62" fmla="*/ 470 w 582"/>
                <a:gd name="T63" fmla="*/ 241 h 408"/>
                <a:gd name="T64" fmla="*/ 470 w 582"/>
                <a:gd name="T65" fmla="*/ 163 h 408"/>
                <a:gd name="T66" fmla="*/ 504 w 582"/>
                <a:gd name="T67" fmla="*/ 121 h 408"/>
                <a:gd name="T68" fmla="*/ 84 w 582"/>
                <a:gd name="T69" fmla="*/ 221 h 408"/>
                <a:gd name="T70" fmla="*/ 58 w 582"/>
                <a:gd name="T71" fmla="*/ 121 h 408"/>
                <a:gd name="T72" fmla="*/ 66 w 582"/>
                <a:gd name="T73" fmla="*/ 109 h 408"/>
                <a:gd name="T74" fmla="*/ 92 w 582"/>
                <a:gd name="T75" fmla="*/ 107 h 408"/>
                <a:gd name="T76" fmla="*/ 121 w 582"/>
                <a:gd name="T77" fmla="*/ 141 h 408"/>
                <a:gd name="T78" fmla="*/ 118 w 582"/>
                <a:gd name="T79" fmla="*/ 193 h 408"/>
                <a:gd name="T80" fmla="*/ 96 w 582"/>
                <a:gd name="T81" fmla="*/ 219 h 408"/>
                <a:gd name="T82" fmla="*/ 291 w 582"/>
                <a:gd name="T83" fmla="*/ 229 h 408"/>
                <a:gd name="T84" fmla="*/ 245 w 582"/>
                <a:gd name="T85" fmla="*/ 217 h 408"/>
                <a:gd name="T86" fmla="*/ 249 w 582"/>
                <a:gd name="T87" fmla="*/ 56 h 408"/>
                <a:gd name="T88" fmla="*/ 273 w 582"/>
                <a:gd name="T89" fmla="*/ 42 h 408"/>
                <a:gd name="T90" fmla="*/ 317 w 582"/>
                <a:gd name="T91" fmla="*/ 48 h 408"/>
                <a:gd name="T92" fmla="*/ 341 w 582"/>
                <a:gd name="T93" fmla="*/ 75 h 408"/>
                <a:gd name="T94" fmla="*/ 351 w 582"/>
                <a:gd name="T95" fmla="*/ 131 h 408"/>
                <a:gd name="T96" fmla="*/ 335 w 582"/>
                <a:gd name="T97" fmla="*/ 201 h 408"/>
                <a:gd name="T98" fmla="*/ 299 w 582"/>
                <a:gd name="T99" fmla="*/ 22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2" h="408">
                  <a:moveTo>
                    <a:pt x="510" y="117"/>
                  </a:moveTo>
                  <a:lnTo>
                    <a:pt x="510" y="117"/>
                  </a:lnTo>
                  <a:lnTo>
                    <a:pt x="520" y="115"/>
                  </a:lnTo>
                  <a:lnTo>
                    <a:pt x="530" y="115"/>
                  </a:lnTo>
                  <a:lnTo>
                    <a:pt x="540" y="115"/>
                  </a:lnTo>
                  <a:lnTo>
                    <a:pt x="548" y="117"/>
                  </a:lnTo>
                  <a:lnTo>
                    <a:pt x="566" y="125"/>
                  </a:lnTo>
                  <a:lnTo>
                    <a:pt x="582" y="135"/>
                  </a:lnTo>
                  <a:lnTo>
                    <a:pt x="582" y="81"/>
                  </a:lnTo>
                  <a:lnTo>
                    <a:pt x="582" y="81"/>
                  </a:lnTo>
                  <a:lnTo>
                    <a:pt x="560" y="77"/>
                  </a:lnTo>
                  <a:lnTo>
                    <a:pt x="538" y="75"/>
                  </a:lnTo>
                  <a:lnTo>
                    <a:pt x="520" y="75"/>
                  </a:lnTo>
                  <a:lnTo>
                    <a:pt x="504" y="77"/>
                  </a:lnTo>
                  <a:lnTo>
                    <a:pt x="490" y="79"/>
                  </a:lnTo>
                  <a:lnTo>
                    <a:pt x="476" y="83"/>
                  </a:lnTo>
                  <a:lnTo>
                    <a:pt x="463" y="87"/>
                  </a:lnTo>
                  <a:lnTo>
                    <a:pt x="453" y="93"/>
                  </a:lnTo>
                  <a:lnTo>
                    <a:pt x="453" y="93"/>
                  </a:lnTo>
                  <a:lnTo>
                    <a:pt x="439" y="105"/>
                  </a:lnTo>
                  <a:lnTo>
                    <a:pt x="429" y="115"/>
                  </a:lnTo>
                  <a:lnTo>
                    <a:pt x="423" y="127"/>
                  </a:lnTo>
                  <a:lnTo>
                    <a:pt x="423" y="127"/>
                  </a:lnTo>
                  <a:lnTo>
                    <a:pt x="421" y="129"/>
                  </a:lnTo>
                  <a:lnTo>
                    <a:pt x="421" y="129"/>
                  </a:lnTo>
                  <a:lnTo>
                    <a:pt x="419" y="105"/>
                  </a:lnTo>
                  <a:lnTo>
                    <a:pt x="417" y="83"/>
                  </a:lnTo>
                  <a:lnTo>
                    <a:pt x="411" y="64"/>
                  </a:lnTo>
                  <a:lnTo>
                    <a:pt x="405" y="50"/>
                  </a:lnTo>
                  <a:lnTo>
                    <a:pt x="395" y="36"/>
                  </a:lnTo>
                  <a:lnTo>
                    <a:pt x="387" y="26"/>
                  </a:lnTo>
                  <a:lnTo>
                    <a:pt x="375" y="18"/>
                  </a:lnTo>
                  <a:lnTo>
                    <a:pt x="363" y="12"/>
                  </a:lnTo>
                  <a:lnTo>
                    <a:pt x="349" y="8"/>
                  </a:lnTo>
                  <a:lnTo>
                    <a:pt x="335" y="4"/>
                  </a:lnTo>
                  <a:lnTo>
                    <a:pt x="303" y="2"/>
                  </a:lnTo>
                  <a:lnTo>
                    <a:pt x="267" y="0"/>
                  </a:lnTo>
                  <a:lnTo>
                    <a:pt x="231" y="0"/>
                  </a:lnTo>
                  <a:lnTo>
                    <a:pt x="231" y="0"/>
                  </a:lnTo>
                  <a:lnTo>
                    <a:pt x="173" y="0"/>
                  </a:lnTo>
                  <a:lnTo>
                    <a:pt x="173" y="121"/>
                  </a:lnTo>
                  <a:lnTo>
                    <a:pt x="173" y="121"/>
                  </a:lnTo>
                  <a:lnTo>
                    <a:pt x="169" y="113"/>
                  </a:lnTo>
                  <a:lnTo>
                    <a:pt x="165" y="105"/>
                  </a:lnTo>
                  <a:lnTo>
                    <a:pt x="161" y="99"/>
                  </a:lnTo>
                  <a:lnTo>
                    <a:pt x="155" y="95"/>
                  </a:lnTo>
                  <a:lnTo>
                    <a:pt x="141" y="87"/>
                  </a:lnTo>
                  <a:lnTo>
                    <a:pt x="125" y="81"/>
                  </a:lnTo>
                  <a:lnTo>
                    <a:pt x="108" y="79"/>
                  </a:lnTo>
                  <a:lnTo>
                    <a:pt x="88" y="77"/>
                  </a:lnTo>
                  <a:lnTo>
                    <a:pt x="48" y="77"/>
                  </a:lnTo>
                  <a:lnTo>
                    <a:pt x="48" y="77"/>
                  </a:lnTo>
                  <a:lnTo>
                    <a:pt x="0" y="77"/>
                  </a:lnTo>
                  <a:lnTo>
                    <a:pt x="0" y="331"/>
                  </a:lnTo>
                  <a:lnTo>
                    <a:pt x="78" y="331"/>
                  </a:lnTo>
                  <a:lnTo>
                    <a:pt x="78" y="331"/>
                  </a:lnTo>
                  <a:lnTo>
                    <a:pt x="70" y="327"/>
                  </a:lnTo>
                  <a:lnTo>
                    <a:pt x="64" y="319"/>
                  </a:lnTo>
                  <a:lnTo>
                    <a:pt x="60" y="311"/>
                  </a:lnTo>
                  <a:lnTo>
                    <a:pt x="58" y="299"/>
                  </a:lnTo>
                  <a:lnTo>
                    <a:pt x="58" y="229"/>
                  </a:lnTo>
                  <a:lnTo>
                    <a:pt x="80" y="253"/>
                  </a:lnTo>
                  <a:lnTo>
                    <a:pt x="80" y="253"/>
                  </a:lnTo>
                  <a:lnTo>
                    <a:pt x="94" y="255"/>
                  </a:lnTo>
                  <a:lnTo>
                    <a:pt x="98" y="255"/>
                  </a:lnTo>
                  <a:lnTo>
                    <a:pt x="98" y="255"/>
                  </a:lnTo>
                  <a:lnTo>
                    <a:pt x="118" y="251"/>
                  </a:lnTo>
                  <a:lnTo>
                    <a:pt x="129" y="249"/>
                  </a:lnTo>
                  <a:lnTo>
                    <a:pt x="139" y="243"/>
                  </a:lnTo>
                  <a:lnTo>
                    <a:pt x="149" y="237"/>
                  </a:lnTo>
                  <a:lnTo>
                    <a:pt x="159" y="229"/>
                  </a:lnTo>
                  <a:lnTo>
                    <a:pt x="167" y="217"/>
                  </a:lnTo>
                  <a:lnTo>
                    <a:pt x="173" y="201"/>
                  </a:lnTo>
                  <a:lnTo>
                    <a:pt x="173" y="408"/>
                  </a:lnTo>
                  <a:lnTo>
                    <a:pt x="265" y="408"/>
                  </a:lnTo>
                  <a:lnTo>
                    <a:pt x="265" y="408"/>
                  </a:lnTo>
                  <a:lnTo>
                    <a:pt x="257" y="404"/>
                  </a:lnTo>
                  <a:lnTo>
                    <a:pt x="251" y="396"/>
                  </a:lnTo>
                  <a:lnTo>
                    <a:pt x="247" y="388"/>
                  </a:lnTo>
                  <a:lnTo>
                    <a:pt x="245" y="376"/>
                  </a:lnTo>
                  <a:lnTo>
                    <a:pt x="245" y="237"/>
                  </a:lnTo>
                  <a:lnTo>
                    <a:pt x="281" y="273"/>
                  </a:lnTo>
                  <a:lnTo>
                    <a:pt x="281" y="273"/>
                  </a:lnTo>
                  <a:lnTo>
                    <a:pt x="295" y="277"/>
                  </a:lnTo>
                  <a:lnTo>
                    <a:pt x="309" y="277"/>
                  </a:lnTo>
                  <a:lnTo>
                    <a:pt x="309" y="277"/>
                  </a:lnTo>
                  <a:lnTo>
                    <a:pt x="333" y="273"/>
                  </a:lnTo>
                  <a:lnTo>
                    <a:pt x="345" y="269"/>
                  </a:lnTo>
                  <a:lnTo>
                    <a:pt x="359" y="263"/>
                  </a:lnTo>
                  <a:lnTo>
                    <a:pt x="371" y="255"/>
                  </a:lnTo>
                  <a:lnTo>
                    <a:pt x="385" y="245"/>
                  </a:lnTo>
                  <a:lnTo>
                    <a:pt x="395" y="231"/>
                  </a:lnTo>
                  <a:lnTo>
                    <a:pt x="405" y="215"/>
                  </a:lnTo>
                  <a:lnTo>
                    <a:pt x="405" y="215"/>
                  </a:lnTo>
                  <a:lnTo>
                    <a:pt x="407" y="233"/>
                  </a:lnTo>
                  <a:lnTo>
                    <a:pt x="409" y="249"/>
                  </a:lnTo>
                  <a:lnTo>
                    <a:pt x="415" y="265"/>
                  </a:lnTo>
                  <a:lnTo>
                    <a:pt x="421" y="281"/>
                  </a:lnTo>
                  <a:lnTo>
                    <a:pt x="429" y="293"/>
                  </a:lnTo>
                  <a:lnTo>
                    <a:pt x="439" y="307"/>
                  </a:lnTo>
                  <a:lnTo>
                    <a:pt x="453" y="317"/>
                  </a:lnTo>
                  <a:lnTo>
                    <a:pt x="470" y="325"/>
                  </a:lnTo>
                  <a:lnTo>
                    <a:pt x="470" y="325"/>
                  </a:lnTo>
                  <a:lnTo>
                    <a:pt x="486" y="329"/>
                  </a:lnTo>
                  <a:lnTo>
                    <a:pt x="502" y="333"/>
                  </a:lnTo>
                  <a:lnTo>
                    <a:pt x="518" y="333"/>
                  </a:lnTo>
                  <a:lnTo>
                    <a:pt x="536" y="333"/>
                  </a:lnTo>
                  <a:lnTo>
                    <a:pt x="536" y="333"/>
                  </a:lnTo>
                  <a:lnTo>
                    <a:pt x="560" y="331"/>
                  </a:lnTo>
                  <a:lnTo>
                    <a:pt x="582" y="329"/>
                  </a:lnTo>
                  <a:lnTo>
                    <a:pt x="582" y="203"/>
                  </a:lnTo>
                  <a:lnTo>
                    <a:pt x="512" y="205"/>
                  </a:lnTo>
                  <a:lnTo>
                    <a:pt x="512" y="205"/>
                  </a:lnTo>
                  <a:lnTo>
                    <a:pt x="522" y="209"/>
                  </a:lnTo>
                  <a:lnTo>
                    <a:pt x="528" y="215"/>
                  </a:lnTo>
                  <a:lnTo>
                    <a:pt x="530" y="225"/>
                  </a:lnTo>
                  <a:lnTo>
                    <a:pt x="532" y="235"/>
                  </a:lnTo>
                  <a:lnTo>
                    <a:pt x="532" y="291"/>
                  </a:lnTo>
                  <a:lnTo>
                    <a:pt x="532" y="291"/>
                  </a:lnTo>
                  <a:lnTo>
                    <a:pt x="520" y="293"/>
                  </a:lnTo>
                  <a:lnTo>
                    <a:pt x="506" y="291"/>
                  </a:lnTo>
                  <a:lnTo>
                    <a:pt x="492" y="287"/>
                  </a:lnTo>
                  <a:lnTo>
                    <a:pt x="488" y="281"/>
                  </a:lnTo>
                  <a:lnTo>
                    <a:pt x="482" y="277"/>
                  </a:lnTo>
                  <a:lnTo>
                    <a:pt x="482" y="277"/>
                  </a:lnTo>
                  <a:lnTo>
                    <a:pt x="478" y="267"/>
                  </a:lnTo>
                  <a:lnTo>
                    <a:pt x="474" y="255"/>
                  </a:lnTo>
                  <a:lnTo>
                    <a:pt x="470" y="241"/>
                  </a:lnTo>
                  <a:lnTo>
                    <a:pt x="468" y="227"/>
                  </a:lnTo>
                  <a:lnTo>
                    <a:pt x="468" y="195"/>
                  </a:lnTo>
                  <a:lnTo>
                    <a:pt x="470" y="163"/>
                  </a:lnTo>
                  <a:lnTo>
                    <a:pt x="470" y="163"/>
                  </a:lnTo>
                  <a:lnTo>
                    <a:pt x="476" y="149"/>
                  </a:lnTo>
                  <a:lnTo>
                    <a:pt x="484" y="135"/>
                  </a:lnTo>
                  <a:lnTo>
                    <a:pt x="496" y="125"/>
                  </a:lnTo>
                  <a:lnTo>
                    <a:pt x="504" y="121"/>
                  </a:lnTo>
                  <a:lnTo>
                    <a:pt x="510" y="117"/>
                  </a:lnTo>
                  <a:lnTo>
                    <a:pt x="510" y="117"/>
                  </a:lnTo>
                  <a:close/>
                  <a:moveTo>
                    <a:pt x="84" y="221"/>
                  </a:moveTo>
                  <a:lnTo>
                    <a:pt x="84" y="221"/>
                  </a:lnTo>
                  <a:lnTo>
                    <a:pt x="72" y="219"/>
                  </a:lnTo>
                  <a:lnTo>
                    <a:pt x="64" y="217"/>
                  </a:lnTo>
                  <a:lnTo>
                    <a:pt x="58" y="211"/>
                  </a:lnTo>
                  <a:lnTo>
                    <a:pt x="58" y="121"/>
                  </a:lnTo>
                  <a:lnTo>
                    <a:pt x="58" y="121"/>
                  </a:lnTo>
                  <a:lnTo>
                    <a:pt x="60" y="115"/>
                  </a:lnTo>
                  <a:lnTo>
                    <a:pt x="62" y="111"/>
                  </a:lnTo>
                  <a:lnTo>
                    <a:pt x="66" y="109"/>
                  </a:lnTo>
                  <a:lnTo>
                    <a:pt x="72" y="107"/>
                  </a:lnTo>
                  <a:lnTo>
                    <a:pt x="72" y="107"/>
                  </a:lnTo>
                  <a:lnTo>
                    <a:pt x="84" y="105"/>
                  </a:lnTo>
                  <a:lnTo>
                    <a:pt x="92" y="107"/>
                  </a:lnTo>
                  <a:lnTo>
                    <a:pt x="100" y="111"/>
                  </a:lnTo>
                  <a:lnTo>
                    <a:pt x="110" y="117"/>
                  </a:lnTo>
                  <a:lnTo>
                    <a:pt x="116" y="125"/>
                  </a:lnTo>
                  <a:lnTo>
                    <a:pt x="121" y="141"/>
                  </a:lnTo>
                  <a:lnTo>
                    <a:pt x="123" y="161"/>
                  </a:lnTo>
                  <a:lnTo>
                    <a:pt x="123" y="161"/>
                  </a:lnTo>
                  <a:lnTo>
                    <a:pt x="123" y="179"/>
                  </a:lnTo>
                  <a:lnTo>
                    <a:pt x="118" y="193"/>
                  </a:lnTo>
                  <a:lnTo>
                    <a:pt x="114" y="205"/>
                  </a:lnTo>
                  <a:lnTo>
                    <a:pt x="108" y="211"/>
                  </a:lnTo>
                  <a:lnTo>
                    <a:pt x="102" y="217"/>
                  </a:lnTo>
                  <a:lnTo>
                    <a:pt x="96" y="219"/>
                  </a:lnTo>
                  <a:lnTo>
                    <a:pt x="84" y="221"/>
                  </a:lnTo>
                  <a:lnTo>
                    <a:pt x="84" y="221"/>
                  </a:lnTo>
                  <a:close/>
                  <a:moveTo>
                    <a:pt x="291" y="229"/>
                  </a:moveTo>
                  <a:lnTo>
                    <a:pt x="291" y="229"/>
                  </a:lnTo>
                  <a:lnTo>
                    <a:pt x="273" y="227"/>
                  </a:lnTo>
                  <a:lnTo>
                    <a:pt x="259" y="223"/>
                  </a:lnTo>
                  <a:lnTo>
                    <a:pt x="249" y="219"/>
                  </a:lnTo>
                  <a:lnTo>
                    <a:pt x="245" y="217"/>
                  </a:lnTo>
                  <a:lnTo>
                    <a:pt x="245" y="64"/>
                  </a:lnTo>
                  <a:lnTo>
                    <a:pt x="245" y="64"/>
                  </a:lnTo>
                  <a:lnTo>
                    <a:pt x="247" y="60"/>
                  </a:lnTo>
                  <a:lnTo>
                    <a:pt x="249" y="56"/>
                  </a:lnTo>
                  <a:lnTo>
                    <a:pt x="255" y="48"/>
                  </a:lnTo>
                  <a:lnTo>
                    <a:pt x="263" y="44"/>
                  </a:lnTo>
                  <a:lnTo>
                    <a:pt x="273" y="42"/>
                  </a:lnTo>
                  <a:lnTo>
                    <a:pt x="273" y="42"/>
                  </a:lnTo>
                  <a:lnTo>
                    <a:pt x="281" y="40"/>
                  </a:lnTo>
                  <a:lnTo>
                    <a:pt x="291" y="40"/>
                  </a:lnTo>
                  <a:lnTo>
                    <a:pt x="303" y="42"/>
                  </a:lnTo>
                  <a:lnTo>
                    <a:pt x="317" y="48"/>
                  </a:lnTo>
                  <a:lnTo>
                    <a:pt x="323" y="52"/>
                  </a:lnTo>
                  <a:lnTo>
                    <a:pt x="329" y="58"/>
                  </a:lnTo>
                  <a:lnTo>
                    <a:pt x="335" y="64"/>
                  </a:lnTo>
                  <a:lnTo>
                    <a:pt x="341" y="75"/>
                  </a:lnTo>
                  <a:lnTo>
                    <a:pt x="345" y="85"/>
                  </a:lnTo>
                  <a:lnTo>
                    <a:pt x="347" y="97"/>
                  </a:lnTo>
                  <a:lnTo>
                    <a:pt x="349" y="113"/>
                  </a:lnTo>
                  <a:lnTo>
                    <a:pt x="351" y="131"/>
                  </a:lnTo>
                  <a:lnTo>
                    <a:pt x="351" y="131"/>
                  </a:lnTo>
                  <a:lnTo>
                    <a:pt x="349" y="159"/>
                  </a:lnTo>
                  <a:lnTo>
                    <a:pt x="343" y="183"/>
                  </a:lnTo>
                  <a:lnTo>
                    <a:pt x="335" y="201"/>
                  </a:lnTo>
                  <a:lnTo>
                    <a:pt x="327" y="213"/>
                  </a:lnTo>
                  <a:lnTo>
                    <a:pt x="317" y="221"/>
                  </a:lnTo>
                  <a:lnTo>
                    <a:pt x="307" y="227"/>
                  </a:lnTo>
                  <a:lnTo>
                    <a:pt x="299" y="229"/>
                  </a:lnTo>
                  <a:lnTo>
                    <a:pt x="291" y="229"/>
                  </a:lnTo>
                  <a:lnTo>
                    <a:pt x="291" y="2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grpSp>
    </p:spTree>
    <p:extLst>
      <p:ext uri="{BB962C8B-B14F-4D97-AF65-F5344CB8AC3E}">
        <p14:creationId xmlns:p14="http://schemas.microsoft.com/office/powerpoint/2010/main" val="42317857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Background pattern&#10;&#10;Description automatically generated">
            <a:extLst>
              <a:ext uri="{FF2B5EF4-FFF2-40B4-BE49-F238E27FC236}">
                <a16:creationId xmlns:a16="http://schemas.microsoft.com/office/drawing/2014/main" id="{71FBFA76-CA86-4693-8741-7520A4688A9F}"/>
              </a:ext>
            </a:extLst>
          </p:cNvPr>
          <p:cNvPicPr>
            <a:picLocks noChangeAspect="1"/>
          </p:cNvPicPr>
          <p:nvPr/>
        </p:nvPicPr>
        <p:blipFill rotWithShape="1">
          <a:blip r:embed="rId3"/>
          <a:srcRect t="-1" b="47935"/>
          <a:stretch/>
        </p:blipFill>
        <p:spPr>
          <a:xfrm>
            <a:off x="435518" y="911846"/>
            <a:ext cx="3682703" cy="1360506"/>
          </a:xfrm>
          <a:prstGeom prst="rect">
            <a:avLst/>
          </a:prstGeom>
        </p:spPr>
      </p:pic>
      <p:sp>
        <p:nvSpPr>
          <p:cNvPr id="5" name="Title 4"/>
          <p:cNvSpPr>
            <a:spLocks noGrp="1"/>
          </p:cNvSpPr>
          <p:nvPr>
            <p:ph type="title"/>
          </p:nvPr>
        </p:nvSpPr>
        <p:spPr/>
        <p:txBody>
          <a:bodyPr/>
          <a:lstStyle/>
          <a:p>
            <a:r>
              <a:rPr lang="en-US"/>
              <a:t>Common problems and possible solutions</a:t>
            </a:r>
          </a:p>
        </p:txBody>
      </p:sp>
      <p:sp>
        <p:nvSpPr>
          <p:cNvPr id="4" name="Slide Number Placeholder 3"/>
          <p:cNvSpPr>
            <a:spLocks noGrp="1"/>
          </p:cNvSpPr>
          <p:nvPr>
            <p:ph type="sldNum" sz="quarter" idx="11"/>
          </p:nvPr>
        </p:nvSpPr>
        <p:spPr/>
        <p:txBody>
          <a:bodyPr/>
          <a:lstStyle/>
          <a:p>
            <a:fld id="{FD9C4343-C115-504A-8D4F-0B17318D4A48}" type="slidenum">
              <a:rPr lang="en-US" smtClean="0"/>
              <a:pPr/>
              <a:t>33</a:t>
            </a:fld>
            <a:endParaRPr lang="en-US"/>
          </a:p>
        </p:txBody>
      </p:sp>
      <p:sp>
        <p:nvSpPr>
          <p:cNvPr id="10" name="TextBox 9">
            <a:extLst>
              <a:ext uri="{FF2B5EF4-FFF2-40B4-BE49-F238E27FC236}">
                <a16:creationId xmlns:a16="http://schemas.microsoft.com/office/drawing/2014/main" id="{2CB623B7-39D2-4420-A36A-0460BE6AB9EB}"/>
              </a:ext>
            </a:extLst>
          </p:cNvPr>
          <p:cNvSpPr txBox="1"/>
          <p:nvPr/>
        </p:nvSpPr>
        <p:spPr>
          <a:xfrm>
            <a:off x="4240941" y="2272351"/>
            <a:ext cx="3682703" cy="344023"/>
          </a:xfrm>
          <a:prstGeom prst="rect">
            <a:avLst/>
          </a:prstGeom>
          <a:solidFill>
            <a:schemeClr val="accent1"/>
          </a:solidFill>
        </p:spPr>
        <p:txBody>
          <a:bodyPr wrap="square" anchor="ctr">
            <a:noAutofit/>
          </a:bodyPr>
          <a:lstStyle/>
          <a:p>
            <a:pPr algn="l">
              <a:lnSpc>
                <a:spcPct val="90000"/>
              </a:lnSpc>
              <a:spcBef>
                <a:spcPts val="400"/>
              </a:spcBef>
            </a:pPr>
            <a:r>
              <a:rPr lang="en-US" sz="1600" b="1" i="0">
                <a:solidFill>
                  <a:schemeClr val="bg1"/>
                </a:solidFill>
                <a:effectLst/>
                <a:latin typeface="Arial" panose="020B0604020202020204" pitchFamily="34" charset="0"/>
              </a:rPr>
              <a:t>Peeling / flaking</a:t>
            </a:r>
            <a:endParaRPr lang="en-US" sz="1600">
              <a:solidFill>
                <a:schemeClr val="bg1"/>
              </a:solidFill>
              <a:latin typeface="Arial" panose="020B0604020202020204" pitchFamily="34" charset="0"/>
            </a:endParaRPr>
          </a:p>
        </p:txBody>
      </p:sp>
      <p:sp>
        <p:nvSpPr>
          <p:cNvPr id="13" name="TextBox 12">
            <a:extLst>
              <a:ext uri="{FF2B5EF4-FFF2-40B4-BE49-F238E27FC236}">
                <a16:creationId xmlns:a16="http://schemas.microsoft.com/office/drawing/2014/main" id="{7D89EAB3-A50F-4F35-8A6D-1A3C66001CB9}"/>
              </a:ext>
            </a:extLst>
          </p:cNvPr>
          <p:cNvSpPr txBox="1"/>
          <p:nvPr/>
        </p:nvSpPr>
        <p:spPr>
          <a:xfrm>
            <a:off x="435519" y="2272351"/>
            <a:ext cx="3682704" cy="344023"/>
          </a:xfrm>
          <a:prstGeom prst="rect">
            <a:avLst/>
          </a:prstGeom>
          <a:solidFill>
            <a:schemeClr val="accent1"/>
          </a:solidFill>
        </p:spPr>
        <p:txBody>
          <a:bodyPr wrap="square" anchor="ctr">
            <a:noAutofit/>
          </a:bodyPr>
          <a:lstStyle/>
          <a:p>
            <a:pPr algn="l">
              <a:lnSpc>
                <a:spcPct val="90000"/>
              </a:lnSpc>
              <a:spcBef>
                <a:spcPts val="400"/>
              </a:spcBef>
            </a:pPr>
            <a:r>
              <a:rPr lang="en-US" sz="1600" b="1" i="0">
                <a:solidFill>
                  <a:schemeClr val="bg1"/>
                </a:solidFill>
                <a:effectLst/>
                <a:latin typeface="Arial" panose="020B0604020202020204" pitchFamily="34" charset="0"/>
              </a:rPr>
              <a:t>Bubbles / pinholes</a:t>
            </a:r>
            <a:endParaRPr lang="en-US" sz="1600">
              <a:solidFill>
                <a:schemeClr val="bg1"/>
              </a:solidFill>
              <a:latin typeface="Arial" panose="020B0604020202020204" pitchFamily="34" charset="0"/>
            </a:endParaRPr>
          </a:p>
        </p:txBody>
      </p:sp>
      <p:sp>
        <p:nvSpPr>
          <p:cNvPr id="15" name="TextBox 14">
            <a:extLst>
              <a:ext uri="{FF2B5EF4-FFF2-40B4-BE49-F238E27FC236}">
                <a16:creationId xmlns:a16="http://schemas.microsoft.com/office/drawing/2014/main" id="{6512F2D5-6238-4398-A64A-26D2D2BA7DAA}"/>
              </a:ext>
            </a:extLst>
          </p:cNvPr>
          <p:cNvSpPr txBox="1"/>
          <p:nvPr/>
        </p:nvSpPr>
        <p:spPr>
          <a:xfrm>
            <a:off x="8105705" y="2272351"/>
            <a:ext cx="3682702" cy="344023"/>
          </a:xfrm>
          <a:prstGeom prst="rect">
            <a:avLst/>
          </a:prstGeom>
          <a:solidFill>
            <a:schemeClr val="accent1"/>
          </a:solidFill>
        </p:spPr>
        <p:txBody>
          <a:bodyPr wrap="square" anchor="ctr">
            <a:noAutofit/>
          </a:bodyPr>
          <a:lstStyle/>
          <a:p>
            <a:pPr algn="l">
              <a:lnSpc>
                <a:spcPct val="90000"/>
              </a:lnSpc>
              <a:spcBef>
                <a:spcPts val="400"/>
              </a:spcBef>
            </a:pPr>
            <a:r>
              <a:rPr lang="en-US" sz="1600" b="1" i="0">
                <a:solidFill>
                  <a:schemeClr val="bg1"/>
                </a:solidFill>
                <a:effectLst/>
                <a:latin typeface="Arial" panose="020B0604020202020204" pitchFamily="34" charset="0"/>
              </a:rPr>
              <a:t>Particulate contamination</a:t>
            </a:r>
            <a:endParaRPr lang="en-US" sz="1600">
              <a:solidFill>
                <a:schemeClr val="bg1"/>
              </a:solidFill>
              <a:latin typeface="Arial" panose="020B0604020202020204" pitchFamily="34" charset="0"/>
            </a:endParaRPr>
          </a:p>
        </p:txBody>
      </p:sp>
      <p:pic>
        <p:nvPicPr>
          <p:cNvPr id="19" name="Picture 18" descr="A picture containing outdoor, nature&#10;&#10;Description automatically generated">
            <a:extLst>
              <a:ext uri="{FF2B5EF4-FFF2-40B4-BE49-F238E27FC236}">
                <a16:creationId xmlns:a16="http://schemas.microsoft.com/office/drawing/2014/main" id="{15B2D30A-96D7-4A58-B02C-5812B1EA070D}"/>
              </a:ext>
            </a:extLst>
          </p:cNvPr>
          <p:cNvPicPr>
            <a:picLocks noChangeAspect="1"/>
          </p:cNvPicPr>
          <p:nvPr/>
        </p:nvPicPr>
        <p:blipFill rotWithShape="1">
          <a:blip r:embed="rId4"/>
          <a:srcRect b="49759"/>
          <a:stretch/>
        </p:blipFill>
        <p:spPr>
          <a:xfrm>
            <a:off x="8105705" y="911847"/>
            <a:ext cx="3682702" cy="1360505"/>
          </a:xfrm>
          <a:prstGeom prst="rect">
            <a:avLst/>
          </a:prstGeom>
        </p:spPr>
      </p:pic>
      <p:pic>
        <p:nvPicPr>
          <p:cNvPr id="21" name="Picture 20">
            <a:extLst>
              <a:ext uri="{FF2B5EF4-FFF2-40B4-BE49-F238E27FC236}">
                <a16:creationId xmlns:a16="http://schemas.microsoft.com/office/drawing/2014/main" id="{AC1A0412-803A-4863-BF45-C95E2719791C}"/>
              </a:ext>
            </a:extLst>
          </p:cNvPr>
          <p:cNvPicPr>
            <a:picLocks noChangeAspect="1"/>
          </p:cNvPicPr>
          <p:nvPr/>
        </p:nvPicPr>
        <p:blipFill rotWithShape="1">
          <a:blip r:embed="rId5"/>
          <a:srcRect l="2" r="-1" b="42281"/>
          <a:stretch/>
        </p:blipFill>
        <p:spPr>
          <a:xfrm>
            <a:off x="4240942" y="911846"/>
            <a:ext cx="3682702" cy="1360506"/>
          </a:xfrm>
          <a:prstGeom prst="rect">
            <a:avLst/>
          </a:prstGeom>
        </p:spPr>
      </p:pic>
      <p:sp>
        <p:nvSpPr>
          <p:cNvPr id="18" name="TextBox 17">
            <a:extLst>
              <a:ext uri="{FF2B5EF4-FFF2-40B4-BE49-F238E27FC236}">
                <a16:creationId xmlns:a16="http://schemas.microsoft.com/office/drawing/2014/main" id="{275DAD45-99AC-4BB7-A4C7-56C63CBDCA3C}"/>
              </a:ext>
            </a:extLst>
          </p:cNvPr>
          <p:cNvSpPr txBox="1"/>
          <p:nvPr/>
        </p:nvSpPr>
        <p:spPr>
          <a:xfrm>
            <a:off x="4240061" y="2688050"/>
            <a:ext cx="3683583" cy="1840504"/>
          </a:xfrm>
          <a:prstGeom prst="rect">
            <a:avLst/>
          </a:prstGeom>
          <a:noFill/>
        </p:spPr>
        <p:txBody>
          <a:bodyPr wrap="square">
            <a:spAutoFit/>
          </a:bodyPr>
          <a:lstStyle/>
          <a:p>
            <a:pPr>
              <a:lnSpc>
                <a:spcPct val="90000"/>
              </a:lnSpc>
              <a:spcBef>
                <a:spcPts val="400"/>
              </a:spcBef>
              <a:buClr>
                <a:schemeClr val="accent1"/>
              </a:buClr>
            </a:pPr>
            <a:r>
              <a:rPr lang="en-US" sz="1600" b="1">
                <a:solidFill>
                  <a:schemeClr val="accent1"/>
                </a:solidFill>
                <a:latin typeface="Arial" panose="020B0604020202020204" pitchFamily="34" charset="0"/>
              </a:rPr>
              <a:t>Section of coating easily lift </a:t>
            </a:r>
            <a:br>
              <a:rPr lang="en-US" sz="1600" b="1">
                <a:solidFill>
                  <a:schemeClr val="accent1"/>
                </a:solidFill>
                <a:latin typeface="Arial" panose="020B0604020202020204" pitchFamily="34" charset="0"/>
              </a:rPr>
            </a:br>
            <a:r>
              <a:rPr lang="en-US" sz="1600" b="1">
                <a:solidFill>
                  <a:schemeClr val="accent1"/>
                </a:solidFill>
                <a:latin typeface="Arial" panose="020B0604020202020204" pitchFamily="34" charset="0"/>
              </a:rPr>
              <a:t>off from substrate</a:t>
            </a:r>
          </a:p>
          <a:p>
            <a:pPr algn="l">
              <a:lnSpc>
                <a:spcPct val="90000"/>
              </a:lnSpc>
              <a:spcBef>
                <a:spcPts val="400"/>
              </a:spcBef>
            </a:pPr>
            <a:r>
              <a:rPr lang="en-US" sz="1200" b="1">
                <a:solidFill>
                  <a:schemeClr val="tx1">
                    <a:lumMod val="75000"/>
                    <a:lumOff val="25000"/>
                  </a:schemeClr>
                </a:solidFill>
                <a:latin typeface="Arial" panose="020B0604020202020204" pitchFamily="34" charset="0"/>
              </a:rPr>
              <a:t>Possible</a:t>
            </a:r>
            <a:r>
              <a:rPr lang="en-US" sz="1200" b="1" i="0">
                <a:solidFill>
                  <a:schemeClr val="tx1">
                    <a:lumMod val="75000"/>
                    <a:lumOff val="25000"/>
                  </a:schemeClr>
                </a:solidFill>
                <a:effectLst/>
                <a:latin typeface="Arial" panose="020B0604020202020204" pitchFamily="34" charset="0"/>
              </a:rPr>
              <a:t> cause</a:t>
            </a:r>
            <a:endParaRPr lang="en-US" sz="1200">
              <a:solidFill>
                <a:schemeClr val="tx1">
                  <a:lumMod val="75000"/>
                  <a:lumOff val="25000"/>
                </a:schemeClr>
              </a:solidFill>
              <a:latin typeface="Arial" panose="020B0604020202020204" pitchFamily="34" charset="0"/>
            </a:endParaRPr>
          </a:p>
          <a:p>
            <a:pPr marL="117475" indent="-117475">
              <a:lnSpc>
                <a:spcPct val="90000"/>
              </a:lnSpc>
              <a:spcBef>
                <a:spcPts val="400"/>
              </a:spcBef>
              <a:buClr>
                <a:schemeClr val="accent1"/>
              </a:buClr>
              <a:buFont typeface="Arial" panose="020B0604020202020204" pitchFamily="34" charset="0"/>
              <a:buChar char="•"/>
            </a:pPr>
            <a:r>
              <a:rPr lang="en-US" sz="1200">
                <a:solidFill>
                  <a:schemeClr val="tx1">
                    <a:lumMod val="85000"/>
                    <a:lumOff val="15000"/>
                  </a:schemeClr>
                </a:solidFill>
                <a:latin typeface="Arial" panose="020B0604020202020204" pitchFamily="34" charset="0"/>
              </a:rPr>
              <a:t>Substrate contamination</a:t>
            </a:r>
          </a:p>
          <a:p>
            <a:pPr marL="117475" indent="-117475">
              <a:lnSpc>
                <a:spcPct val="90000"/>
              </a:lnSpc>
              <a:spcBef>
                <a:spcPts val="400"/>
              </a:spcBef>
              <a:buClr>
                <a:schemeClr val="accent1"/>
              </a:buClr>
              <a:buFont typeface="Arial" panose="020B0604020202020204" pitchFamily="34" charset="0"/>
              <a:buChar char="•"/>
            </a:pPr>
            <a:r>
              <a:rPr lang="en-US" sz="1200">
                <a:solidFill>
                  <a:schemeClr val="tx1">
                    <a:lumMod val="85000"/>
                    <a:lumOff val="15000"/>
                  </a:schemeClr>
                </a:solidFill>
                <a:latin typeface="Arial" panose="020B0604020202020204" pitchFamily="34" charset="0"/>
              </a:rPr>
              <a:t>Improper surface preparation</a:t>
            </a:r>
          </a:p>
          <a:p>
            <a:pPr marL="117475" indent="-117475">
              <a:lnSpc>
                <a:spcPct val="90000"/>
              </a:lnSpc>
              <a:spcBef>
                <a:spcPts val="400"/>
              </a:spcBef>
              <a:buClr>
                <a:schemeClr val="accent1"/>
              </a:buClr>
              <a:buFont typeface="Arial" panose="020B0604020202020204" pitchFamily="34" charset="0"/>
              <a:buChar char="•"/>
            </a:pPr>
            <a:r>
              <a:rPr lang="en-US" sz="1200">
                <a:solidFill>
                  <a:schemeClr val="tx1">
                    <a:lumMod val="85000"/>
                    <a:lumOff val="15000"/>
                  </a:schemeClr>
                </a:solidFill>
                <a:latin typeface="Arial" panose="020B0604020202020204" pitchFamily="34" charset="0"/>
              </a:rPr>
              <a:t>Insufficient mixing</a:t>
            </a:r>
          </a:p>
          <a:p>
            <a:pPr marL="117475" indent="-117475">
              <a:lnSpc>
                <a:spcPct val="90000"/>
              </a:lnSpc>
              <a:spcBef>
                <a:spcPts val="400"/>
              </a:spcBef>
              <a:buClr>
                <a:schemeClr val="accent1"/>
              </a:buClr>
              <a:buFont typeface="Arial" panose="020B0604020202020204" pitchFamily="34" charset="0"/>
              <a:buChar char="•"/>
            </a:pPr>
            <a:r>
              <a:rPr lang="en-US" sz="1200">
                <a:solidFill>
                  <a:schemeClr val="tx1">
                    <a:lumMod val="85000"/>
                    <a:lumOff val="15000"/>
                  </a:schemeClr>
                </a:solidFill>
                <a:latin typeface="Arial" panose="020B0604020202020204" pitchFamily="34" charset="0"/>
              </a:rPr>
              <a:t>Improper curing </a:t>
            </a:r>
          </a:p>
          <a:p>
            <a:pPr marL="117475" indent="-117475">
              <a:lnSpc>
                <a:spcPct val="90000"/>
              </a:lnSpc>
              <a:spcBef>
                <a:spcPts val="400"/>
              </a:spcBef>
              <a:buClr>
                <a:schemeClr val="accent1"/>
              </a:buClr>
              <a:buFont typeface="Arial" panose="020B0604020202020204" pitchFamily="34" charset="0"/>
              <a:buChar char="•"/>
            </a:pPr>
            <a:r>
              <a:rPr lang="en-US" sz="1200">
                <a:solidFill>
                  <a:schemeClr val="tx1">
                    <a:lumMod val="85000"/>
                    <a:lumOff val="15000"/>
                  </a:schemeClr>
                </a:solidFill>
                <a:latin typeface="Arial" panose="020B0604020202020204" pitchFamily="34" charset="0"/>
              </a:rPr>
              <a:t>Improper applied DFT</a:t>
            </a:r>
          </a:p>
        </p:txBody>
      </p:sp>
      <p:sp>
        <p:nvSpPr>
          <p:cNvPr id="20" name="TextBox 19">
            <a:extLst>
              <a:ext uri="{FF2B5EF4-FFF2-40B4-BE49-F238E27FC236}">
                <a16:creationId xmlns:a16="http://schemas.microsoft.com/office/drawing/2014/main" id="{AD51F770-C4FE-45C7-8DF5-8B9EC3630A31}"/>
              </a:ext>
            </a:extLst>
          </p:cNvPr>
          <p:cNvSpPr txBox="1"/>
          <p:nvPr/>
        </p:nvSpPr>
        <p:spPr>
          <a:xfrm>
            <a:off x="435519" y="2688050"/>
            <a:ext cx="3682702" cy="1789208"/>
          </a:xfrm>
          <a:prstGeom prst="rect">
            <a:avLst/>
          </a:prstGeom>
          <a:noFill/>
        </p:spPr>
        <p:txBody>
          <a:bodyPr wrap="square">
            <a:spAutoFit/>
          </a:bodyPr>
          <a:lstStyle/>
          <a:p>
            <a:pPr algn="l">
              <a:lnSpc>
                <a:spcPct val="90000"/>
              </a:lnSpc>
              <a:spcBef>
                <a:spcPts val="400"/>
              </a:spcBef>
              <a:buClr>
                <a:schemeClr val="accent1"/>
              </a:buClr>
            </a:pPr>
            <a:r>
              <a:rPr lang="en-US" sz="1600" b="1" i="0">
                <a:solidFill>
                  <a:schemeClr val="accent1"/>
                </a:solidFill>
                <a:effectLst/>
                <a:latin typeface="Arial" panose="020B0604020202020204" pitchFamily="34" charset="0"/>
              </a:rPr>
              <a:t>Many small pock marks or tiny </a:t>
            </a:r>
            <a:br>
              <a:rPr lang="en-US" sz="1600" b="1" i="0">
                <a:solidFill>
                  <a:schemeClr val="accent1"/>
                </a:solidFill>
                <a:effectLst/>
                <a:latin typeface="Arial" panose="020B0604020202020204" pitchFamily="34" charset="0"/>
              </a:rPr>
            </a:br>
            <a:r>
              <a:rPr lang="en-US" sz="1600" b="1" i="0">
                <a:solidFill>
                  <a:schemeClr val="accent1"/>
                </a:solidFill>
                <a:effectLst/>
                <a:latin typeface="Arial" panose="020B0604020202020204" pitchFamily="34" charset="0"/>
              </a:rPr>
              <a:t>holes in the coating</a:t>
            </a:r>
          </a:p>
          <a:p>
            <a:pPr algn="l">
              <a:lnSpc>
                <a:spcPct val="90000"/>
              </a:lnSpc>
              <a:spcBef>
                <a:spcPts val="400"/>
              </a:spcBef>
            </a:pPr>
            <a:r>
              <a:rPr lang="en-US" sz="1200" b="1">
                <a:solidFill>
                  <a:schemeClr val="tx1">
                    <a:lumMod val="75000"/>
                    <a:lumOff val="25000"/>
                  </a:schemeClr>
                </a:solidFill>
                <a:latin typeface="Arial" panose="020B0604020202020204" pitchFamily="34" charset="0"/>
              </a:rPr>
              <a:t>Possible</a:t>
            </a:r>
            <a:r>
              <a:rPr lang="en-US" sz="1200" b="1" i="0">
                <a:solidFill>
                  <a:schemeClr val="tx1">
                    <a:lumMod val="75000"/>
                    <a:lumOff val="25000"/>
                  </a:schemeClr>
                </a:solidFill>
                <a:effectLst/>
                <a:latin typeface="Arial" panose="020B0604020202020204" pitchFamily="34" charset="0"/>
              </a:rPr>
              <a:t> cause</a:t>
            </a:r>
            <a:endParaRPr lang="en-US" sz="1200">
              <a:solidFill>
                <a:schemeClr val="tx1">
                  <a:lumMod val="75000"/>
                  <a:lumOff val="25000"/>
                </a:schemeClr>
              </a:solidFill>
              <a:latin typeface="Arial" panose="020B0604020202020204" pitchFamily="34" charset="0"/>
            </a:endParaRPr>
          </a:p>
          <a:p>
            <a:pPr marL="117475" indent="-117475">
              <a:lnSpc>
                <a:spcPct val="90000"/>
              </a:lnSpc>
              <a:spcBef>
                <a:spcPts val="400"/>
              </a:spcBef>
              <a:buClr>
                <a:schemeClr val="accent1"/>
              </a:buClr>
              <a:buFont typeface="Arial" panose="020B0604020202020204" pitchFamily="34" charset="0"/>
              <a:buChar char="•"/>
            </a:pPr>
            <a:r>
              <a:rPr lang="en-US" sz="1200">
                <a:solidFill>
                  <a:schemeClr val="tx1">
                    <a:lumMod val="85000"/>
                    <a:lumOff val="15000"/>
                  </a:schemeClr>
                </a:solidFill>
                <a:latin typeface="Arial" panose="020B0604020202020204" pitchFamily="34" charset="0"/>
              </a:rPr>
              <a:t>Excessive agitation causing coating to foam </a:t>
            </a:r>
            <a:br>
              <a:rPr lang="en-US" sz="1200">
                <a:solidFill>
                  <a:schemeClr val="tx1">
                    <a:lumMod val="85000"/>
                    <a:lumOff val="15000"/>
                  </a:schemeClr>
                </a:solidFill>
                <a:latin typeface="Arial" panose="020B0604020202020204" pitchFamily="34" charset="0"/>
              </a:rPr>
            </a:br>
            <a:r>
              <a:rPr lang="en-US" sz="1200">
                <a:solidFill>
                  <a:schemeClr val="tx1">
                    <a:lumMod val="85000"/>
                    <a:lumOff val="15000"/>
                  </a:schemeClr>
                </a:solidFill>
                <a:latin typeface="Arial" panose="020B0604020202020204" pitchFamily="34" charset="0"/>
              </a:rPr>
              <a:t>and trap air</a:t>
            </a:r>
          </a:p>
          <a:p>
            <a:pPr marL="117475" indent="-117475">
              <a:lnSpc>
                <a:spcPct val="90000"/>
              </a:lnSpc>
              <a:spcBef>
                <a:spcPts val="400"/>
              </a:spcBef>
              <a:buClr>
                <a:schemeClr val="accent1"/>
              </a:buClr>
              <a:buFont typeface="Arial" panose="020B0604020202020204" pitchFamily="34" charset="0"/>
              <a:buChar char="•"/>
            </a:pPr>
            <a:r>
              <a:rPr lang="en-US" sz="1200">
                <a:solidFill>
                  <a:schemeClr val="tx1">
                    <a:lumMod val="85000"/>
                    <a:lumOff val="15000"/>
                  </a:schemeClr>
                </a:solidFill>
                <a:latin typeface="Arial" panose="020B0604020202020204" pitchFamily="34" charset="0"/>
              </a:rPr>
              <a:t>Excessive pumping or a leaking pump</a:t>
            </a:r>
          </a:p>
          <a:p>
            <a:pPr marL="117475" indent="-117475">
              <a:lnSpc>
                <a:spcPct val="90000"/>
              </a:lnSpc>
              <a:spcBef>
                <a:spcPts val="400"/>
              </a:spcBef>
              <a:buClr>
                <a:schemeClr val="accent1"/>
              </a:buClr>
              <a:buFont typeface="Arial" panose="020B0604020202020204" pitchFamily="34" charset="0"/>
              <a:buChar char="•"/>
            </a:pPr>
            <a:r>
              <a:rPr lang="en-US" sz="1200">
                <a:solidFill>
                  <a:schemeClr val="tx1">
                    <a:lumMod val="85000"/>
                    <a:lumOff val="15000"/>
                  </a:schemeClr>
                </a:solidFill>
                <a:latin typeface="Arial" panose="020B0604020202020204" pitchFamily="34" charset="0"/>
              </a:rPr>
              <a:t>Rapid evaporation of solvent</a:t>
            </a:r>
          </a:p>
          <a:p>
            <a:pPr marL="117475" indent="-117475">
              <a:lnSpc>
                <a:spcPct val="90000"/>
              </a:lnSpc>
              <a:spcBef>
                <a:spcPts val="400"/>
              </a:spcBef>
              <a:buClr>
                <a:schemeClr val="accent1"/>
              </a:buClr>
              <a:buFont typeface="Arial" panose="020B0604020202020204" pitchFamily="34" charset="0"/>
              <a:buChar char="•"/>
            </a:pPr>
            <a:r>
              <a:rPr lang="en-US" sz="1200">
                <a:solidFill>
                  <a:schemeClr val="tx1">
                    <a:lumMod val="85000"/>
                    <a:lumOff val="15000"/>
                  </a:schemeClr>
                </a:solidFill>
                <a:latin typeface="Arial" panose="020B0604020202020204" pitchFamily="34" charset="0"/>
              </a:rPr>
              <a:t>Insufficient substrate pre-heating / substrate issue</a:t>
            </a:r>
          </a:p>
        </p:txBody>
      </p:sp>
      <p:sp>
        <p:nvSpPr>
          <p:cNvPr id="22" name="TextBox 21">
            <a:extLst>
              <a:ext uri="{FF2B5EF4-FFF2-40B4-BE49-F238E27FC236}">
                <a16:creationId xmlns:a16="http://schemas.microsoft.com/office/drawing/2014/main" id="{567FBA5D-B2C4-44E5-94B7-80D0266C0E11}"/>
              </a:ext>
            </a:extLst>
          </p:cNvPr>
          <p:cNvSpPr txBox="1"/>
          <p:nvPr/>
        </p:nvSpPr>
        <p:spPr>
          <a:xfrm>
            <a:off x="8045483" y="2688050"/>
            <a:ext cx="3742923" cy="1571712"/>
          </a:xfrm>
          <a:prstGeom prst="rect">
            <a:avLst/>
          </a:prstGeom>
          <a:noFill/>
        </p:spPr>
        <p:txBody>
          <a:bodyPr wrap="square">
            <a:spAutoFit/>
          </a:bodyPr>
          <a:lstStyle/>
          <a:p>
            <a:pPr>
              <a:lnSpc>
                <a:spcPct val="90000"/>
              </a:lnSpc>
              <a:spcBef>
                <a:spcPts val="400"/>
              </a:spcBef>
              <a:buClr>
                <a:schemeClr val="accent1"/>
              </a:buClr>
            </a:pPr>
            <a:r>
              <a:rPr lang="en-US" sz="1600" b="1">
                <a:solidFill>
                  <a:schemeClr val="accent1"/>
                </a:solidFill>
                <a:latin typeface="Arial" panose="020B0604020202020204" pitchFamily="34" charset="0"/>
              </a:rPr>
              <a:t>Particles on surface of coated substrate</a:t>
            </a:r>
          </a:p>
          <a:p>
            <a:pPr algn="l">
              <a:lnSpc>
                <a:spcPct val="90000"/>
              </a:lnSpc>
              <a:spcBef>
                <a:spcPts val="400"/>
              </a:spcBef>
            </a:pPr>
            <a:r>
              <a:rPr lang="en-US" sz="1200" b="1">
                <a:solidFill>
                  <a:schemeClr val="tx1">
                    <a:lumMod val="75000"/>
                    <a:lumOff val="25000"/>
                  </a:schemeClr>
                </a:solidFill>
                <a:latin typeface="Arial" panose="020B0604020202020204" pitchFamily="34" charset="0"/>
              </a:rPr>
              <a:t>Possible</a:t>
            </a:r>
            <a:r>
              <a:rPr lang="en-US" sz="1200" b="1" i="0">
                <a:solidFill>
                  <a:schemeClr val="tx1">
                    <a:lumMod val="75000"/>
                    <a:lumOff val="25000"/>
                  </a:schemeClr>
                </a:solidFill>
                <a:effectLst/>
                <a:latin typeface="Arial" panose="020B0604020202020204" pitchFamily="34" charset="0"/>
              </a:rPr>
              <a:t> cause</a:t>
            </a:r>
            <a:endParaRPr lang="en-US" sz="1200">
              <a:solidFill>
                <a:schemeClr val="tx1">
                  <a:lumMod val="75000"/>
                  <a:lumOff val="25000"/>
                </a:schemeClr>
              </a:solidFill>
              <a:latin typeface="Arial" panose="020B0604020202020204" pitchFamily="34" charset="0"/>
            </a:endParaRPr>
          </a:p>
          <a:p>
            <a:pPr marL="117475" indent="-117475">
              <a:lnSpc>
                <a:spcPct val="90000"/>
              </a:lnSpc>
              <a:spcBef>
                <a:spcPts val="400"/>
              </a:spcBef>
              <a:buClr>
                <a:schemeClr val="accent1"/>
              </a:buClr>
              <a:buFont typeface="Arial" panose="020B0604020202020204" pitchFamily="34" charset="0"/>
              <a:buChar char="•"/>
            </a:pPr>
            <a:r>
              <a:rPr lang="en-US" sz="1200">
                <a:solidFill>
                  <a:schemeClr val="tx1">
                    <a:lumMod val="85000"/>
                    <a:lumOff val="15000"/>
                  </a:schemeClr>
                </a:solidFill>
                <a:latin typeface="Arial" panose="020B0604020202020204" pitchFamily="34" charset="0"/>
              </a:rPr>
              <a:t>Dried coating bits inside container falling back </a:t>
            </a:r>
            <a:br>
              <a:rPr lang="en-US" sz="1200">
                <a:solidFill>
                  <a:schemeClr val="tx1">
                    <a:lumMod val="85000"/>
                    <a:lumOff val="15000"/>
                  </a:schemeClr>
                </a:solidFill>
                <a:latin typeface="Arial" panose="020B0604020202020204" pitchFamily="34" charset="0"/>
              </a:rPr>
            </a:br>
            <a:r>
              <a:rPr lang="en-US" sz="1200">
                <a:solidFill>
                  <a:schemeClr val="tx1">
                    <a:lumMod val="85000"/>
                    <a:lumOff val="15000"/>
                  </a:schemeClr>
                </a:solidFill>
                <a:latin typeface="Arial" panose="020B0604020202020204" pitchFamily="34" charset="0"/>
              </a:rPr>
              <a:t>into coating</a:t>
            </a:r>
          </a:p>
          <a:p>
            <a:pPr marL="117475" indent="-117475">
              <a:lnSpc>
                <a:spcPct val="90000"/>
              </a:lnSpc>
              <a:spcBef>
                <a:spcPts val="400"/>
              </a:spcBef>
              <a:buClr>
                <a:schemeClr val="accent1"/>
              </a:buClr>
              <a:buFont typeface="Arial" panose="020B0604020202020204" pitchFamily="34" charset="0"/>
              <a:buChar char="•"/>
            </a:pPr>
            <a:r>
              <a:rPr lang="en-US" sz="1200">
                <a:solidFill>
                  <a:schemeClr val="tx1">
                    <a:lumMod val="85000"/>
                    <a:lumOff val="15000"/>
                  </a:schemeClr>
                </a:solidFill>
                <a:latin typeface="Arial" panose="020B0604020202020204" pitchFamily="34" charset="0"/>
              </a:rPr>
              <a:t>Airborne particles either in spray area or oven</a:t>
            </a:r>
          </a:p>
          <a:p>
            <a:pPr marL="117475" indent="-117475">
              <a:lnSpc>
                <a:spcPct val="90000"/>
              </a:lnSpc>
              <a:spcBef>
                <a:spcPts val="400"/>
              </a:spcBef>
              <a:buClr>
                <a:schemeClr val="accent1"/>
              </a:buClr>
              <a:buFont typeface="Arial" panose="020B0604020202020204" pitchFamily="34" charset="0"/>
              <a:buChar char="•"/>
            </a:pPr>
            <a:r>
              <a:rPr lang="en-US" sz="1200">
                <a:solidFill>
                  <a:schemeClr val="tx1">
                    <a:lumMod val="85000"/>
                    <a:lumOff val="15000"/>
                  </a:schemeClr>
                </a:solidFill>
                <a:latin typeface="Arial" panose="020B0604020202020204" pitchFamily="34" charset="0"/>
              </a:rPr>
              <a:t>improper activation of coating</a:t>
            </a:r>
          </a:p>
        </p:txBody>
      </p:sp>
      <p:sp>
        <p:nvSpPr>
          <p:cNvPr id="24" name="TextBox 23">
            <a:extLst>
              <a:ext uri="{FF2B5EF4-FFF2-40B4-BE49-F238E27FC236}">
                <a16:creationId xmlns:a16="http://schemas.microsoft.com/office/drawing/2014/main" id="{399849FB-0BF1-4BA3-A8FD-4EDF7724F18A}"/>
              </a:ext>
            </a:extLst>
          </p:cNvPr>
          <p:cNvSpPr txBox="1"/>
          <p:nvPr/>
        </p:nvSpPr>
        <p:spPr>
          <a:xfrm>
            <a:off x="435519" y="4585258"/>
            <a:ext cx="3682702" cy="1844608"/>
          </a:xfrm>
          <a:prstGeom prst="rect">
            <a:avLst/>
          </a:prstGeom>
          <a:noFill/>
        </p:spPr>
        <p:txBody>
          <a:bodyPr wrap="square">
            <a:spAutoFit/>
          </a:bodyPr>
          <a:lstStyle/>
          <a:p>
            <a:pPr marL="0" marR="0" lvl="0" indent="0" algn="l" defTabSz="457200" rtl="0" eaLnBrk="1" fontAlgn="auto" latinLnBrk="0" hangingPunct="1">
              <a:lnSpc>
                <a:spcPct val="90000"/>
              </a:lnSpc>
              <a:spcBef>
                <a:spcPts val="40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Suggested solutions (fluoropolymer)</a:t>
            </a:r>
            <a:endParaRPr kumimoji="0" lang="en-US"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endParaRPr>
          </a:p>
          <a:p>
            <a:pPr marL="117475" marR="0" lvl="0" indent="-117475" algn="l" defTabSz="457200" rtl="0" eaLnBrk="1" fontAlgn="auto" latinLnBrk="0" hangingPunct="1">
              <a:lnSpc>
                <a:spcPct val="90000"/>
              </a:lnSpc>
              <a:spcBef>
                <a:spcPts val="400"/>
              </a:spcBef>
              <a:spcAft>
                <a:spcPts val="0"/>
              </a:spcAft>
              <a:buClr>
                <a:srgbClr val="0078A9"/>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mn-cs"/>
              </a:rPr>
              <a:t>Reduce agitation in tank and check pumping process</a:t>
            </a:r>
          </a:p>
          <a:p>
            <a:pPr marL="117475" marR="0" lvl="0" indent="-117475" algn="l" defTabSz="457200" rtl="0" eaLnBrk="1" fontAlgn="auto" latinLnBrk="0" hangingPunct="1">
              <a:lnSpc>
                <a:spcPct val="90000"/>
              </a:lnSpc>
              <a:spcBef>
                <a:spcPts val="400"/>
              </a:spcBef>
              <a:spcAft>
                <a:spcPts val="0"/>
              </a:spcAft>
              <a:buClr>
                <a:srgbClr val="0078A9"/>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mn-cs"/>
              </a:rPr>
              <a:t>Add slow-evaporating solvent</a:t>
            </a:r>
          </a:p>
          <a:p>
            <a:pPr marL="117475" marR="0" lvl="0" indent="-117475" algn="l" defTabSz="457200" rtl="0" eaLnBrk="1" fontAlgn="auto" latinLnBrk="0" hangingPunct="1">
              <a:lnSpc>
                <a:spcPct val="90000"/>
              </a:lnSpc>
              <a:spcBef>
                <a:spcPts val="400"/>
              </a:spcBef>
              <a:spcAft>
                <a:spcPts val="0"/>
              </a:spcAft>
              <a:buClr>
                <a:srgbClr val="0078A9"/>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mn-cs"/>
              </a:rPr>
              <a:t>Warm more gradually, flash briefly before curing</a:t>
            </a:r>
          </a:p>
          <a:p>
            <a:pPr marL="117475" marR="0" lvl="0" indent="-117475" algn="l" defTabSz="457200" rtl="0" eaLnBrk="1" fontAlgn="auto" latinLnBrk="0" hangingPunct="1">
              <a:lnSpc>
                <a:spcPct val="90000"/>
              </a:lnSpc>
              <a:spcBef>
                <a:spcPts val="400"/>
              </a:spcBef>
              <a:spcAft>
                <a:spcPts val="0"/>
              </a:spcAft>
              <a:buClr>
                <a:srgbClr val="0078A9"/>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mn-cs"/>
              </a:rPr>
              <a:t>Increase substrate pre-heating and spray gun atomization pressure with gradual DFT built up</a:t>
            </a:r>
          </a:p>
          <a:p>
            <a:pPr marL="117475" marR="0" lvl="0" indent="-117475" algn="l" defTabSz="457200" rtl="0" eaLnBrk="1" fontAlgn="auto" latinLnBrk="0" hangingPunct="1">
              <a:lnSpc>
                <a:spcPct val="90000"/>
              </a:lnSpc>
              <a:spcBef>
                <a:spcPts val="400"/>
              </a:spcBef>
              <a:spcAft>
                <a:spcPts val="0"/>
              </a:spcAft>
              <a:buClr>
                <a:srgbClr val="0078A9"/>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mn-cs"/>
              </a:rPr>
              <a:t>Refer to PPG’s technical team for appropriate solution</a:t>
            </a:r>
          </a:p>
        </p:txBody>
      </p:sp>
      <p:sp>
        <p:nvSpPr>
          <p:cNvPr id="26" name="TextBox 25">
            <a:extLst>
              <a:ext uri="{FF2B5EF4-FFF2-40B4-BE49-F238E27FC236}">
                <a16:creationId xmlns:a16="http://schemas.microsoft.com/office/drawing/2014/main" id="{D4CBF826-94BB-4CA7-8F26-DA1836B38357}"/>
              </a:ext>
            </a:extLst>
          </p:cNvPr>
          <p:cNvSpPr txBox="1"/>
          <p:nvPr/>
        </p:nvSpPr>
        <p:spPr>
          <a:xfrm>
            <a:off x="4240060" y="4585258"/>
            <a:ext cx="3682702" cy="1192121"/>
          </a:xfrm>
          <a:prstGeom prst="rect">
            <a:avLst/>
          </a:prstGeom>
          <a:noFill/>
        </p:spPr>
        <p:txBody>
          <a:bodyPr wrap="square">
            <a:spAutoFit/>
          </a:bodyPr>
          <a:lstStyle/>
          <a:p>
            <a:pPr marL="0" marR="0" lvl="0" indent="0" algn="l" defTabSz="457200" rtl="0" eaLnBrk="1" fontAlgn="auto" latinLnBrk="0" hangingPunct="1">
              <a:lnSpc>
                <a:spcPct val="90000"/>
              </a:lnSpc>
              <a:spcBef>
                <a:spcPts val="40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Suggested solutions (fluoropolymer)</a:t>
            </a:r>
            <a:endParaRPr kumimoji="0" lang="en-US"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endParaRPr>
          </a:p>
          <a:p>
            <a:pPr marL="117475" marR="0" lvl="0" indent="-117475" algn="l" defTabSz="457200" rtl="0" eaLnBrk="1" fontAlgn="auto" latinLnBrk="0" hangingPunct="1">
              <a:lnSpc>
                <a:spcPct val="90000"/>
              </a:lnSpc>
              <a:spcBef>
                <a:spcPts val="400"/>
              </a:spcBef>
              <a:spcAft>
                <a:spcPts val="0"/>
              </a:spcAft>
              <a:buClr>
                <a:srgbClr val="0078A9"/>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mn-cs"/>
              </a:rPr>
              <a:t>Improve process of cleaning to ensure no forming oil or previous coating residue mix according to Product Data Sheet (PDS)</a:t>
            </a:r>
          </a:p>
          <a:p>
            <a:pPr marL="117475" marR="0" lvl="0" indent="-117475" algn="l" defTabSz="457200" rtl="0" eaLnBrk="1" fontAlgn="auto" latinLnBrk="0" hangingPunct="1">
              <a:lnSpc>
                <a:spcPct val="90000"/>
              </a:lnSpc>
              <a:spcBef>
                <a:spcPts val="400"/>
              </a:spcBef>
              <a:spcAft>
                <a:spcPts val="0"/>
              </a:spcAft>
              <a:buClr>
                <a:srgbClr val="0078A9"/>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mn-cs"/>
              </a:rPr>
              <a:t>Check PDS curing procedure apply appropriate DFT according to PDS</a:t>
            </a:r>
          </a:p>
        </p:txBody>
      </p:sp>
      <p:sp>
        <p:nvSpPr>
          <p:cNvPr id="32" name="TextBox 31">
            <a:extLst>
              <a:ext uri="{FF2B5EF4-FFF2-40B4-BE49-F238E27FC236}">
                <a16:creationId xmlns:a16="http://schemas.microsoft.com/office/drawing/2014/main" id="{DF3C04CD-7142-4CE0-BDE0-688422EE95E5}"/>
              </a:ext>
            </a:extLst>
          </p:cNvPr>
          <p:cNvSpPr txBox="1"/>
          <p:nvPr/>
        </p:nvSpPr>
        <p:spPr>
          <a:xfrm>
            <a:off x="8105705" y="4585258"/>
            <a:ext cx="3682702" cy="1077218"/>
          </a:xfrm>
          <a:prstGeom prst="rect">
            <a:avLst/>
          </a:prstGeom>
          <a:noFill/>
        </p:spPr>
        <p:txBody>
          <a:bodyPr wrap="square">
            <a:spAutoFit/>
          </a:bodyPr>
          <a:lstStyle/>
          <a:p>
            <a:pPr marL="0" marR="0" lvl="0" indent="0" algn="l" defTabSz="457200" rtl="0" eaLnBrk="1" fontAlgn="auto" latinLnBrk="0" hangingPunct="1">
              <a:lnSpc>
                <a:spcPct val="90000"/>
              </a:lnSpc>
              <a:spcBef>
                <a:spcPts val="40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Suggested solutions (fluoropolymer/sol-gel)</a:t>
            </a:r>
            <a:endParaRPr kumimoji="0" lang="en-US"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endParaRPr>
          </a:p>
          <a:p>
            <a:pPr marL="117475" marR="0" lvl="0" indent="-117475" algn="l" defTabSz="457200" rtl="0" eaLnBrk="1" fontAlgn="auto" latinLnBrk="0" hangingPunct="1">
              <a:lnSpc>
                <a:spcPct val="90000"/>
              </a:lnSpc>
              <a:spcBef>
                <a:spcPts val="400"/>
              </a:spcBef>
              <a:spcAft>
                <a:spcPts val="0"/>
              </a:spcAft>
              <a:buClr>
                <a:srgbClr val="0078A9"/>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mn-cs"/>
              </a:rPr>
              <a:t>Filter coating before use</a:t>
            </a:r>
          </a:p>
          <a:p>
            <a:pPr marL="117475" marR="0" lvl="0" indent="-117475" algn="l" defTabSz="457200" rtl="0" eaLnBrk="1" fontAlgn="auto" latinLnBrk="0" hangingPunct="1">
              <a:lnSpc>
                <a:spcPct val="90000"/>
              </a:lnSpc>
              <a:spcBef>
                <a:spcPts val="400"/>
              </a:spcBef>
              <a:spcAft>
                <a:spcPts val="0"/>
              </a:spcAft>
              <a:buClr>
                <a:srgbClr val="0078A9"/>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mn-cs"/>
              </a:rPr>
              <a:t>Keep spray areas clean and dust-free</a:t>
            </a:r>
            <a:br>
              <a:rPr kumimoji="0" lang="en-US" sz="12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mn-cs"/>
              </a:rPr>
            </a:br>
            <a:r>
              <a:rPr kumimoji="0" lang="en-US" sz="12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mn-cs"/>
              </a:rPr>
              <a:t>ensure proper coating activation as per PDS</a:t>
            </a:r>
          </a:p>
          <a:p>
            <a:pPr marL="117475" marR="0" lvl="0" indent="-117475" algn="l" defTabSz="457200" rtl="0" eaLnBrk="1" fontAlgn="auto" latinLnBrk="0" hangingPunct="1">
              <a:lnSpc>
                <a:spcPct val="90000"/>
              </a:lnSpc>
              <a:spcBef>
                <a:spcPts val="400"/>
              </a:spcBef>
              <a:spcAft>
                <a:spcPts val="0"/>
              </a:spcAft>
              <a:buClr>
                <a:srgbClr val="0078A9"/>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mn-cs"/>
              </a:rPr>
              <a:t>Consult PPG Technical for further information</a:t>
            </a:r>
          </a:p>
        </p:txBody>
      </p:sp>
    </p:spTree>
    <p:extLst>
      <p:ext uri="{BB962C8B-B14F-4D97-AF65-F5344CB8AC3E}">
        <p14:creationId xmlns:p14="http://schemas.microsoft.com/office/powerpoint/2010/main" val="30295053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picture containing tray, accessory&#10;&#10;Description automatically generated">
            <a:extLst>
              <a:ext uri="{FF2B5EF4-FFF2-40B4-BE49-F238E27FC236}">
                <a16:creationId xmlns:a16="http://schemas.microsoft.com/office/drawing/2014/main" id="{ECEFBC5E-F887-40AF-AC50-ED45148FBF7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t="2153" r="2153"/>
          <a:stretch/>
        </p:blipFill>
        <p:spPr>
          <a:xfrm>
            <a:off x="0" y="0"/>
            <a:ext cx="10275831" cy="6858000"/>
          </a:xfrm>
          <a:prstGeom prst="rect">
            <a:avLst/>
          </a:prstGeom>
        </p:spPr>
      </p:pic>
      <p:grpSp>
        <p:nvGrpSpPr>
          <p:cNvPr id="2" name="Group 1">
            <a:extLst>
              <a:ext uri="{FF2B5EF4-FFF2-40B4-BE49-F238E27FC236}">
                <a16:creationId xmlns:a16="http://schemas.microsoft.com/office/drawing/2014/main" id="{6BE527E7-6E18-49E4-9914-F7340B3EC978}"/>
              </a:ext>
            </a:extLst>
          </p:cNvPr>
          <p:cNvGrpSpPr/>
          <p:nvPr/>
        </p:nvGrpSpPr>
        <p:grpSpPr>
          <a:xfrm>
            <a:off x="6245969" y="892"/>
            <a:ext cx="5904830" cy="6857108"/>
            <a:chOff x="6258644" y="892"/>
            <a:chExt cx="5904830" cy="6891986"/>
          </a:xfrm>
        </p:grpSpPr>
        <p:sp>
          <p:nvSpPr>
            <p:cNvPr id="13" name="Rectangle 12">
              <a:extLst>
                <a:ext uri="{FF2B5EF4-FFF2-40B4-BE49-F238E27FC236}">
                  <a16:creationId xmlns:a16="http://schemas.microsoft.com/office/drawing/2014/main" id="{519FD3FC-E43D-42E0-9CB0-5A9D93A96570}"/>
                </a:ext>
              </a:extLst>
            </p:cNvPr>
            <p:cNvSpPr/>
            <p:nvPr/>
          </p:nvSpPr>
          <p:spPr>
            <a:xfrm>
              <a:off x="9741522" y="892"/>
              <a:ext cx="2421952" cy="689198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14" name="Rectangle 5">
              <a:extLst>
                <a:ext uri="{FF2B5EF4-FFF2-40B4-BE49-F238E27FC236}">
                  <a16:creationId xmlns:a16="http://schemas.microsoft.com/office/drawing/2014/main" id="{FAF0A4DE-B1BD-40FE-9EBC-1F36E297FBA6}"/>
                </a:ext>
              </a:extLst>
            </p:cNvPr>
            <p:cNvSpPr/>
            <p:nvPr/>
          </p:nvSpPr>
          <p:spPr>
            <a:xfrm>
              <a:off x="6258644" y="892"/>
              <a:ext cx="3508228" cy="6891986"/>
            </a:xfrm>
            <a:custGeom>
              <a:avLst/>
              <a:gdLst>
                <a:gd name="connsiteX0" fmla="*/ 0 w 5613621"/>
                <a:gd name="connsiteY0" fmla="*/ 0 h 5613621"/>
                <a:gd name="connsiteX1" fmla="*/ 5613621 w 5613621"/>
                <a:gd name="connsiteY1" fmla="*/ 0 h 5613621"/>
                <a:gd name="connsiteX2" fmla="*/ 5613621 w 5613621"/>
                <a:gd name="connsiteY2" fmla="*/ 5613621 h 5613621"/>
                <a:gd name="connsiteX3" fmla="*/ 0 w 5613621"/>
                <a:gd name="connsiteY3" fmla="*/ 5613621 h 5613621"/>
                <a:gd name="connsiteX4" fmla="*/ 0 w 5613621"/>
                <a:gd name="connsiteY4" fmla="*/ 0 h 5613621"/>
                <a:gd name="connsiteX0" fmla="*/ 0 w 5613621"/>
                <a:gd name="connsiteY0" fmla="*/ 5613621 h 5613621"/>
                <a:gd name="connsiteX1" fmla="*/ 5613621 w 5613621"/>
                <a:gd name="connsiteY1" fmla="*/ 0 h 5613621"/>
                <a:gd name="connsiteX2" fmla="*/ 5613621 w 5613621"/>
                <a:gd name="connsiteY2" fmla="*/ 5613621 h 5613621"/>
                <a:gd name="connsiteX3" fmla="*/ 0 w 5613621"/>
                <a:gd name="connsiteY3" fmla="*/ 5613621 h 5613621"/>
              </a:gdLst>
              <a:ahLst/>
              <a:cxnLst>
                <a:cxn ang="0">
                  <a:pos x="connsiteX0" y="connsiteY0"/>
                </a:cxn>
                <a:cxn ang="0">
                  <a:pos x="connsiteX1" y="connsiteY1"/>
                </a:cxn>
                <a:cxn ang="0">
                  <a:pos x="connsiteX2" y="connsiteY2"/>
                </a:cxn>
                <a:cxn ang="0">
                  <a:pos x="connsiteX3" y="connsiteY3"/>
                </a:cxn>
              </a:cxnLst>
              <a:rect l="l" t="t" r="r" b="b"/>
              <a:pathLst>
                <a:path w="5613621" h="5613621">
                  <a:moveTo>
                    <a:pt x="0" y="5613621"/>
                  </a:moveTo>
                  <a:lnTo>
                    <a:pt x="5613621" y="0"/>
                  </a:lnTo>
                  <a:lnTo>
                    <a:pt x="5613621" y="5613621"/>
                  </a:lnTo>
                  <a:lnTo>
                    <a:pt x="0" y="5613621"/>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grpSp>
      <p:sp>
        <p:nvSpPr>
          <p:cNvPr id="3" name="Title 2"/>
          <p:cNvSpPr>
            <a:spLocks noGrp="1"/>
          </p:cNvSpPr>
          <p:nvPr>
            <p:ph type="ctrTitle"/>
          </p:nvPr>
        </p:nvSpPr>
        <p:spPr>
          <a:xfrm>
            <a:off x="8161360" y="4019550"/>
            <a:ext cx="3234520" cy="1520957"/>
          </a:xfrm>
        </p:spPr>
        <p:txBody>
          <a:bodyPr>
            <a:normAutofit fontScale="90000"/>
          </a:bodyPr>
          <a:lstStyle/>
          <a:p>
            <a:pPr algn="r"/>
            <a:r>
              <a:rPr lang="en-US" sz="3599">
                <a:solidFill>
                  <a:schemeClr val="bg1"/>
                </a:solidFill>
              </a:rPr>
              <a:t>Quality Cooperative Program (QCP) </a:t>
            </a:r>
          </a:p>
        </p:txBody>
      </p:sp>
      <p:grpSp>
        <p:nvGrpSpPr>
          <p:cNvPr id="8" name="Group 7">
            <a:extLst>
              <a:ext uri="{FF2B5EF4-FFF2-40B4-BE49-F238E27FC236}">
                <a16:creationId xmlns:a16="http://schemas.microsoft.com/office/drawing/2014/main" id="{A9360C37-1C5C-4C2D-AD16-23978B050840}"/>
              </a:ext>
            </a:extLst>
          </p:cNvPr>
          <p:cNvGrpSpPr/>
          <p:nvPr/>
        </p:nvGrpSpPr>
        <p:grpSpPr>
          <a:xfrm>
            <a:off x="11248166" y="6140170"/>
            <a:ext cx="697906" cy="551833"/>
            <a:chOff x="9440863" y="5832475"/>
            <a:chExt cx="1092200" cy="863600"/>
          </a:xfrm>
        </p:grpSpPr>
        <p:sp>
          <p:nvSpPr>
            <p:cNvPr id="9" name="AutoShape 3">
              <a:extLst>
                <a:ext uri="{FF2B5EF4-FFF2-40B4-BE49-F238E27FC236}">
                  <a16:creationId xmlns:a16="http://schemas.microsoft.com/office/drawing/2014/main" id="{6EF11D5D-E156-4CBC-BD9C-449EC85EAEAD}"/>
                </a:ext>
              </a:extLst>
            </p:cNvPr>
            <p:cNvSpPr>
              <a:spLocks noChangeAspect="1" noChangeArrowheads="1" noTextEdit="1"/>
            </p:cNvSpPr>
            <p:nvPr/>
          </p:nvSpPr>
          <p:spPr bwMode="auto">
            <a:xfrm>
              <a:off x="9440863" y="5832475"/>
              <a:ext cx="109220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0" name="Freeform 5">
              <a:extLst>
                <a:ext uri="{FF2B5EF4-FFF2-40B4-BE49-F238E27FC236}">
                  <a16:creationId xmlns:a16="http://schemas.microsoft.com/office/drawing/2014/main" id="{CDDB7B7A-A8EE-4606-B44A-7BC160C8F68C}"/>
                </a:ext>
              </a:extLst>
            </p:cNvPr>
            <p:cNvSpPr>
              <a:spLocks/>
            </p:cNvSpPr>
            <p:nvPr/>
          </p:nvSpPr>
          <p:spPr bwMode="auto">
            <a:xfrm>
              <a:off x="9440863" y="5832475"/>
              <a:ext cx="1092200" cy="863600"/>
            </a:xfrm>
            <a:custGeom>
              <a:avLst/>
              <a:gdLst>
                <a:gd name="T0" fmla="*/ 130 w 688"/>
                <a:gd name="T1" fmla="*/ 544 h 544"/>
                <a:gd name="T2" fmla="*/ 116 w 688"/>
                <a:gd name="T3" fmla="*/ 544 h 544"/>
                <a:gd name="T4" fmla="*/ 90 w 688"/>
                <a:gd name="T5" fmla="*/ 538 h 544"/>
                <a:gd name="T6" fmla="*/ 68 w 688"/>
                <a:gd name="T7" fmla="*/ 528 h 544"/>
                <a:gd name="T8" fmla="*/ 38 w 688"/>
                <a:gd name="T9" fmla="*/ 506 h 544"/>
                <a:gd name="T10" fmla="*/ 16 w 688"/>
                <a:gd name="T11" fmla="*/ 476 h 544"/>
                <a:gd name="T12" fmla="*/ 6 w 688"/>
                <a:gd name="T13" fmla="*/ 454 h 544"/>
                <a:gd name="T14" fmla="*/ 0 w 688"/>
                <a:gd name="T15" fmla="*/ 428 h 544"/>
                <a:gd name="T16" fmla="*/ 0 w 688"/>
                <a:gd name="T17" fmla="*/ 130 h 544"/>
                <a:gd name="T18" fmla="*/ 0 w 688"/>
                <a:gd name="T19" fmla="*/ 116 h 544"/>
                <a:gd name="T20" fmla="*/ 6 w 688"/>
                <a:gd name="T21" fmla="*/ 92 h 544"/>
                <a:gd name="T22" fmla="*/ 16 w 688"/>
                <a:gd name="T23" fmla="*/ 68 h 544"/>
                <a:gd name="T24" fmla="*/ 38 w 688"/>
                <a:gd name="T25" fmla="*/ 38 h 544"/>
                <a:gd name="T26" fmla="*/ 68 w 688"/>
                <a:gd name="T27" fmla="*/ 16 h 544"/>
                <a:gd name="T28" fmla="*/ 90 w 688"/>
                <a:gd name="T29" fmla="*/ 6 h 544"/>
                <a:gd name="T30" fmla="*/ 116 w 688"/>
                <a:gd name="T31" fmla="*/ 0 h 544"/>
                <a:gd name="T32" fmla="*/ 558 w 688"/>
                <a:gd name="T33" fmla="*/ 0 h 544"/>
                <a:gd name="T34" fmla="*/ 572 w 688"/>
                <a:gd name="T35" fmla="*/ 0 h 544"/>
                <a:gd name="T36" fmla="*/ 596 w 688"/>
                <a:gd name="T37" fmla="*/ 6 h 544"/>
                <a:gd name="T38" fmla="*/ 620 w 688"/>
                <a:gd name="T39" fmla="*/ 16 h 544"/>
                <a:gd name="T40" fmla="*/ 650 w 688"/>
                <a:gd name="T41" fmla="*/ 38 h 544"/>
                <a:gd name="T42" fmla="*/ 672 w 688"/>
                <a:gd name="T43" fmla="*/ 68 h 544"/>
                <a:gd name="T44" fmla="*/ 682 w 688"/>
                <a:gd name="T45" fmla="*/ 92 h 544"/>
                <a:gd name="T46" fmla="*/ 688 w 688"/>
                <a:gd name="T47" fmla="*/ 116 h 544"/>
                <a:gd name="T48" fmla="*/ 688 w 688"/>
                <a:gd name="T49" fmla="*/ 414 h 544"/>
                <a:gd name="T50" fmla="*/ 688 w 688"/>
                <a:gd name="T51" fmla="*/ 428 h 544"/>
                <a:gd name="T52" fmla="*/ 682 w 688"/>
                <a:gd name="T53" fmla="*/ 454 h 544"/>
                <a:gd name="T54" fmla="*/ 672 w 688"/>
                <a:gd name="T55" fmla="*/ 476 h 544"/>
                <a:gd name="T56" fmla="*/ 650 w 688"/>
                <a:gd name="T57" fmla="*/ 506 h 544"/>
                <a:gd name="T58" fmla="*/ 620 w 688"/>
                <a:gd name="T59" fmla="*/ 528 h 544"/>
                <a:gd name="T60" fmla="*/ 596 w 688"/>
                <a:gd name="T61" fmla="*/ 538 h 544"/>
                <a:gd name="T62" fmla="*/ 572 w 688"/>
                <a:gd name="T63" fmla="*/ 544 h 544"/>
                <a:gd name="T64" fmla="*/ 558 w 688"/>
                <a:gd name="T65" fmla="*/ 544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8" h="544">
                  <a:moveTo>
                    <a:pt x="558" y="544"/>
                  </a:moveTo>
                  <a:lnTo>
                    <a:pt x="130" y="544"/>
                  </a:lnTo>
                  <a:lnTo>
                    <a:pt x="130" y="544"/>
                  </a:lnTo>
                  <a:lnTo>
                    <a:pt x="116" y="544"/>
                  </a:lnTo>
                  <a:lnTo>
                    <a:pt x="104" y="542"/>
                  </a:lnTo>
                  <a:lnTo>
                    <a:pt x="90" y="538"/>
                  </a:lnTo>
                  <a:lnTo>
                    <a:pt x="78" y="534"/>
                  </a:lnTo>
                  <a:lnTo>
                    <a:pt x="68" y="528"/>
                  </a:lnTo>
                  <a:lnTo>
                    <a:pt x="56" y="522"/>
                  </a:lnTo>
                  <a:lnTo>
                    <a:pt x="38" y="506"/>
                  </a:lnTo>
                  <a:lnTo>
                    <a:pt x="22" y="488"/>
                  </a:lnTo>
                  <a:lnTo>
                    <a:pt x="16" y="476"/>
                  </a:lnTo>
                  <a:lnTo>
                    <a:pt x="10" y="466"/>
                  </a:lnTo>
                  <a:lnTo>
                    <a:pt x="6" y="454"/>
                  </a:lnTo>
                  <a:lnTo>
                    <a:pt x="2" y="440"/>
                  </a:lnTo>
                  <a:lnTo>
                    <a:pt x="0" y="428"/>
                  </a:lnTo>
                  <a:lnTo>
                    <a:pt x="0" y="414"/>
                  </a:lnTo>
                  <a:lnTo>
                    <a:pt x="0" y="130"/>
                  </a:lnTo>
                  <a:lnTo>
                    <a:pt x="0" y="130"/>
                  </a:lnTo>
                  <a:lnTo>
                    <a:pt x="0" y="116"/>
                  </a:lnTo>
                  <a:lnTo>
                    <a:pt x="2" y="104"/>
                  </a:lnTo>
                  <a:lnTo>
                    <a:pt x="6" y="92"/>
                  </a:lnTo>
                  <a:lnTo>
                    <a:pt x="10" y="80"/>
                  </a:lnTo>
                  <a:lnTo>
                    <a:pt x="16" y="68"/>
                  </a:lnTo>
                  <a:lnTo>
                    <a:pt x="22" y="58"/>
                  </a:lnTo>
                  <a:lnTo>
                    <a:pt x="38" y="38"/>
                  </a:lnTo>
                  <a:lnTo>
                    <a:pt x="56" y="22"/>
                  </a:lnTo>
                  <a:lnTo>
                    <a:pt x="68" y="16"/>
                  </a:lnTo>
                  <a:lnTo>
                    <a:pt x="78" y="10"/>
                  </a:lnTo>
                  <a:lnTo>
                    <a:pt x="90" y="6"/>
                  </a:lnTo>
                  <a:lnTo>
                    <a:pt x="104" y="2"/>
                  </a:lnTo>
                  <a:lnTo>
                    <a:pt x="116" y="0"/>
                  </a:lnTo>
                  <a:lnTo>
                    <a:pt x="130" y="0"/>
                  </a:lnTo>
                  <a:lnTo>
                    <a:pt x="558" y="0"/>
                  </a:lnTo>
                  <a:lnTo>
                    <a:pt x="558" y="0"/>
                  </a:lnTo>
                  <a:lnTo>
                    <a:pt x="572" y="0"/>
                  </a:lnTo>
                  <a:lnTo>
                    <a:pt x="584" y="2"/>
                  </a:lnTo>
                  <a:lnTo>
                    <a:pt x="596" y="6"/>
                  </a:lnTo>
                  <a:lnTo>
                    <a:pt x="608" y="10"/>
                  </a:lnTo>
                  <a:lnTo>
                    <a:pt x="620" y="16"/>
                  </a:lnTo>
                  <a:lnTo>
                    <a:pt x="630" y="22"/>
                  </a:lnTo>
                  <a:lnTo>
                    <a:pt x="650" y="38"/>
                  </a:lnTo>
                  <a:lnTo>
                    <a:pt x="666" y="58"/>
                  </a:lnTo>
                  <a:lnTo>
                    <a:pt x="672" y="68"/>
                  </a:lnTo>
                  <a:lnTo>
                    <a:pt x="678" y="80"/>
                  </a:lnTo>
                  <a:lnTo>
                    <a:pt x="682" y="92"/>
                  </a:lnTo>
                  <a:lnTo>
                    <a:pt x="686" y="104"/>
                  </a:lnTo>
                  <a:lnTo>
                    <a:pt x="688" y="116"/>
                  </a:lnTo>
                  <a:lnTo>
                    <a:pt x="688" y="130"/>
                  </a:lnTo>
                  <a:lnTo>
                    <a:pt x="688" y="414"/>
                  </a:lnTo>
                  <a:lnTo>
                    <a:pt x="688" y="414"/>
                  </a:lnTo>
                  <a:lnTo>
                    <a:pt x="688" y="428"/>
                  </a:lnTo>
                  <a:lnTo>
                    <a:pt x="686" y="440"/>
                  </a:lnTo>
                  <a:lnTo>
                    <a:pt x="682" y="454"/>
                  </a:lnTo>
                  <a:lnTo>
                    <a:pt x="678" y="466"/>
                  </a:lnTo>
                  <a:lnTo>
                    <a:pt x="672" y="476"/>
                  </a:lnTo>
                  <a:lnTo>
                    <a:pt x="666" y="488"/>
                  </a:lnTo>
                  <a:lnTo>
                    <a:pt x="650" y="506"/>
                  </a:lnTo>
                  <a:lnTo>
                    <a:pt x="630" y="522"/>
                  </a:lnTo>
                  <a:lnTo>
                    <a:pt x="620" y="528"/>
                  </a:lnTo>
                  <a:lnTo>
                    <a:pt x="608" y="534"/>
                  </a:lnTo>
                  <a:lnTo>
                    <a:pt x="596" y="538"/>
                  </a:lnTo>
                  <a:lnTo>
                    <a:pt x="584" y="542"/>
                  </a:lnTo>
                  <a:lnTo>
                    <a:pt x="572" y="544"/>
                  </a:lnTo>
                  <a:lnTo>
                    <a:pt x="558" y="544"/>
                  </a:lnTo>
                  <a:lnTo>
                    <a:pt x="558" y="5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1" name="Freeform 6">
              <a:extLst>
                <a:ext uri="{FF2B5EF4-FFF2-40B4-BE49-F238E27FC236}">
                  <a16:creationId xmlns:a16="http://schemas.microsoft.com/office/drawing/2014/main" id="{74B431EA-9C67-45E4-B298-3830B15E829F}"/>
                </a:ext>
              </a:extLst>
            </p:cNvPr>
            <p:cNvSpPr>
              <a:spLocks/>
            </p:cNvSpPr>
            <p:nvPr/>
          </p:nvSpPr>
          <p:spPr bwMode="auto">
            <a:xfrm>
              <a:off x="9475788" y="5870575"/>
              <a:ext cx="1019175" cy="790575"/>
            </a:xfrm>
            <a:custGeom>
              <a:avLst/>
              <a:gdLst>
                <a:gd name="T0" fmla="*/ 536 w 642"/>
                <a:gd name="T1" fmla="*/ 498 h 498"/>
                <a:gd name="T2" fmla="*/ 108 w 642"/>
                <a:gd name="T3" fmla="*/ 498 h 498"/>
                <a:gd name="T4" fmla="*/ 108 w 642"/>
                <a:gd name="T5" fmla="*/ 498 h 498"/>
                <a:gd name="T6" fmla="*/ 86 w 642"/>
                <a:gd name="T7" fmla="*/ 496 h 498"/>
                <a:gd name="T8" fmla="*/ 66 w 642"/>
                <a:gd name="T9" fmla="*/ 490 h 498"/>
                <a:gd name="T10" fmla="*/ 48 w 642"/>
                <a:gd name="T11" fmla="*/ 480 h 498"/>
                <a:gd name="T12" fmla="*/ 32 w 642"/>
                <a:gd name="T13" fmla="*/ 466 h 498"/>
                <a:gd name="T14" fmla="*/ 18 w 642"/>
                <a:gd name="T15" fmla="*/ 450 h 498"/>
                <a:gd name="T16" fmla="*/ 8 w 642"/>
                <a:gd name="T17" fmla="*/ 432 h 498"/>
                <a:gd name="T18" fmla="*/ 2 w 642"/>
                <a:gd name="T19" fmla="*/ 412 h 498"/>
                <a:gd name="T20" fmla="*/ 0 w 642"/>
                <a:gd name="T21" fmla="*/ 390 h 498"/>
                <a:gd name="T22" fmla="*/ 0 w 642"/>
                <a:gd name="T23" fmla="*/ 106 h 498"/>
                <a:gd name="T24" fmla="*/ 0 w 642"/>
                <a:gd name="T25" fmla="*/ 106 h 498"/>
                <a:gd name="T26" fmla="*/ 2 w 642"/>
                <a:gd name="T27" fmla="*/ 84 h 498"/>
                <a:gd name="T28" fmla="*/ 8 w 642"/>
                <a:gd name="T29" fmla="*/ 64 h 498"/>
                <a:gd name="T30" fmla="*/ 18 w 642"/>
                <a:gd name="T31" fmla="*/ 46 h 498"/>
                <a:gd name="T32" fmla="*/ 32 w 642"/>
                <a:gd name="T33" fmla="*/ 30 h 498"/>
                <a:gd name="T34" fmla="*/ 48 w 642"/>
                <a:gd name="T35" fmla="*/ 18 h 498"/>
                <a:gd name="T36" fmla="*/ 66 w 642"/>
                <a:gd name="T37" fmla="*/ 8 h 498"/>
                <a:gd name="T38" fmla="*/ 86 w 642"/>
                <a:gd name="T39" fmla="*/ 2 h 498"/>
                <a:gd name="T40" fmla="*/ 108 w 642"/>
                <a:gd name="T41" fmla="*/ 0 h 498"/>
                <a:gd name="T42" fmla="*/ 536 w 642"/>
                <a:gd name="T43" fmla="*/ 0 h 498"/>
                <a:gd name="T44" fmla="*/ 536 w 642"/>
                <a:gd name="T45" fmla="*/ 0 h 498"/>
                <a:gd name="T46" fmla="*/ 558 w 642"/>
                <a:gd name="T47" fmla="*/ 2 h 498"/>
                <a:gd name="T48" fmla="*/ 578 w 642"/>
                <a:gd name="T49" fmla="*/ 8 h 498"/>
                <a:gd name="T50" fmla="*/ 596 w 642"/>
                <a:gd name="T51" fmla="*/ 18 h 498"/>
                <a:gd name="T52" fmla="*/ 612 w 642"/>
                <a:gd name="T53" fmla="*/ 30 h 498"/>
                <a:gd name="T54" fmla="*/ 624 w 642"/>
                <a:gd name="T55" fmla="*/ 46 h 498"/>
                <a:gd name="T56" fmla="*/ 634 w 642"/>
                <a:gd name="T57" fmla="*/ 64 h 498"/>
                <a:gd name="T58" fmla="*/ 640 w 642"/>
                <a:gd name="T59" fmla="*/ 84 h 498"/>
                <a:gd name="T60" fmla="*/ 642 w 642"/>
                <a:gd name="T61" fmla="*/ 106 h 498"/>
                <a:gd name="T62" fmla="*/ 642 w 642"/>
                <a:gd name="T63" fmla="*/ 390 h 498"/>
                <a:gd name="T64" fmla="*/ 642 w 642"/>
                <a:gd name="T65" fmla="*/ 390 h 498"/>
                <a:gd name="T66" fmla="*/ 640 w 642"/>
                <a:gd name="T67" fmla="*/ 412 h 498"/>
                <a:gd name="T68" fmla="*/ 634 w 642"/>
                <a:gd name="T69" fmla="*/ 432 h 498"/>
                <a:gd name="T70" fmla="*/ 624 w 642"/>
                <a:gd name="T71" fmla="*/ 450 h 498"/>
                <a:gd name="T72" fmla="*/ 612 w 642"/>
                <a:gd name="T73" fmla="*/ 466 h 498"/>
                <a:gd name="T74" fmla="*/ 596 w 642"/>
                <a:gd name="T75" fmla="*/ 480 h 498"/>
                <a:gd name="T76" fmla="*/ 578 w 642"/>
                <a:gd name="T77" fmla="*/ 490 h 498"/>
                <a:gd name="T78" fmla="*/ 558 w 642"/>
                <a:gd name="T79" fmla="*/ 496 h 498"/>
                <a:gd name="T80" fmla="*/ 536 w 642"/>
                <a:gd name="T81" fmla="*/ 498 h 498"/>
                <a:gd name="T82" fmla="*/ 536 w 642"/>
                <a:gd name="T83"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2" h="498">
                  <a:moveTo>
                    <a:pt x="536" y="498"/>
                  </a:moveTo>
                  <a:lnTo>
                    <a:pt x="108" y="498"/>
                  </a:lnTo>
                  <a:lnTo>
                    <a:pt x="108" y="498"/>
                  </a:lnTo>
                  <a:lnTo>
                    <a:pt x="86" y="496"/>
                  </a:lnTo>
                  <a:lnTo>
                    <a:pt x="66" y="490"/>
                  </a:lnTo>
                  <a:lnTo>
                    <a:pt x="48" y="480"/>
                  </a:lnTo>
                  <a:lnTo>
                    <a:pt x="32" y="466"/>
                  </a:lnTo>
                  <a:lnTo>
                    <a:pt x="18" y="450"/>
                  </a:lnTo>
                  <a:lnTo>
                    <a:pt x="8" y="432"/>
                  </a:lnTo>
                  <a:lnTo>
                    <a:pt x="2" y="412"/>
                  </a:lnTo>
                  <a:lnTo>
                    <a:pt x="0" y="390"/>
                  </a:lnTo>
                  <a:lnTo>
                    <a:pt x="0" y="106"/>
                  </a:lnTo>
                  <a:lnTo>
                    <a:pt x="0" y="106"/>
                  </a:lnTo>
                  <a:lnTo>
                    <a:pt x="2" y="84"/>
                  </a:lnTo>
                  <a:lnTo>
                    <a:pt x="8" y="64"/>
                  </a:lnTo>
                  <a:lnTo>
                    <a:pt x="18" y="46"/>
                  </a:lnTo>
                  <a:lnTo>
                    <a:pt x="32" y="30"/>
                  </a:lnTo>
                  <a:lnTo>
                    <a:pt x="48" y="18"/>
                  </a:lnTo>
                  <a:lnTo>
                    <a:pt x="66" y="8"/>
                  </a:lnTo>
                  <a:lnTo>
                    <a:pt x="86" y="2"/>
                  </a:lnTo>
                  <a:lnTo>
                    <a:pt x="108" y="0"/>
                  </a:lnTo>
                  <a:lnTo>
                    <a:pt x="536" y="0"/>
                  </a:lnTo>
                  <a:lnTo>
                    <a:pt x="536" y="0"/>
                  </a:lnTo>
                  <a:lnTo>
                    <a:pt x="558" y="2"/>
                  </a:lnTo>
                  <a:lnTo>
                    <a:pt x="578" y="8"/>
                  </a:lnTo>
                  <a:lnTo>
                    <a:pt x="596" y="18"/>
                  </a:lnTo>
                  <a:lnTo>
                    <a:pt x="612" y="30"/>
                  </a:lnTo>
                  <a:lnTo>
                    <a:pt x="624" y="46"/>
                  </a:lnTo>
                  <a:lnTo>
                    <a:pt x="634" y="64"/>
                  </a:lnTo>
                  <a:lnTo>
                    <a:pt x="640" y="84"/>
                  </a:lnTo>
                  <a:lnTo>
                    <a:pt x="642" y="106"/>
                  </a:lnTo>
                  <a:lnTo>
                    <a:pt x="642" y="390"/>
                  </a:lnTo>
                  <a:lnTo>
                    <a:pt x="642" y="390"/>
                  </a:lnTo>
                  <a:lnTo>
                    <a:pt x="640" y="412"/>
                  </a:lnTo>
                  <a:lnTo>
                    <a:pt x="634" y="432"/>
                  </a:lnTo>
                  <a:lnTo>
                    <a:pt x="624" y="450"/>
                  </a:lnTo>
                  <a:lnTo>
                    <a:pt x="612" y="466"/>
                  </a:lnTo>
                  <a:lnTo>
                    <a:pt x="596" y="480"/>
                  </a:lnTo>
                  <a:lnTo>
                    <a:pt x="578" y="490"/>
                  </a:lnTo>
                  <a:lnTo>
                    <a:pt x="558" y="496"/>
                  </a:lnTo>
                  <a:lnTo>
                    <a:pt x="536" y="498"/>
                  </a:lnTo>
                  <a:lnTo>
                    <a:pt x="536" y="498"/>
                  </a:lnTo>
                  <a:close/>
                </a:path>
              </a:pathLst>
            </a:custGeom>
            <a:solidFill>
              <a:srgbClr val="0078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2" name="Freeform 7">
              <a:extLst>
                <a:ext uri="{FF2B5EF4-FFF2-40B4-BE49-F238E27FC236}">
                  <a16:creationId xmlns:a16="http://schemas.microsoft.com/office/drawing/2014/main" id="{1404339F-FB6C-4B06-8713-A118396DD7B3}"/>
                </a:ext>
              </a:extLst>
            </p:cNvPr>
            <p:cNvSpPr>
              <a:spLocks noEditPoints="1"/>
            </p:cNvSpPr>
            <p:nvPr/>
          </p:nvSpPr>
          <p:spPr bwMode="auto">
            <a:xfrm>
              <a:off x="9523413" y="5940425"/>
              <a:ext cx="923925" cy="647700"/>
            </a:xfrm>
            <a:custGeom>
              <a:avLst/>
              <a:gdLst>
                <a:gd name="T0" fmla="*/ 530 w 582"/>
                <a:gd name="T1" fmla="*/ 115 h 408"/>
                <a:gd name="T2" fmla="*/ 582 w 582"/>
                <a:gd name="T3" fmla="*/ 135 h 408"/>
                <a:gd name="T4" fmla="*/ 538 w 582"/>
                <a:gd name="T5" fmla="*/ 75 h 408"/>
                <a:gd name="T6" fmla="*/ 476 w 582"/>
                <a:gd name="T7" fmla="*/ 83 h 408"/>
                <a:gd name="T8" fmla="*/ 439 w 582"/>
                <a:gd name="T9" fmla="*/ 105 h 408"/>
                <a:gd name="T10" fmla="*/ 421 w 582"/>
                <a:gd name="T11" fmla="*/ 129 h 408"/>
                <a:gd name="T12" fmla="*/ 411 w 582"/>
                <a:gd name="T13" fmla="*/ 64 h 408"/>
                <a:gd name="T14" fmla="*/ 375 w 582"/>
                <a:gd name="T15" fmla="*/ 18 h 408"/>
                <a:gd name="T16" fmla="*/ 303 w 582"/>
                <a:gd name="T17" fmla="*/ 2 h 408"/>
                <a:gd name="T18" fmla="*/ 173 w 582"/>
                <a:gd name="T19" fmla="*/ 0 h 408"/>
                <a:gd name="T20" fmla="*/ 165 w 582"/>
                <a:gd name="T21" fmla="*/ 105 h 408"/>
                <a:gd name="T22" fmla="*/ 125 w 582"/>
                <a:gd name="T23" fmla="*/ 81 h 408"/>
                <a:gd name="T24" fmla="*/ 48 w 582"/>
                <a:gd name="T25" fmla="*/ 77 h 408"/>
                <a:gd name="T26" fmla="*/ 78 w 582"/>
                <a:gd name="T27" fmla="*/ 331 h 408"/>
                <a:gd name="T28" fmla="*/ 58 w 582"/>
                <a:gd name="T29" fmla="*/ 299 h 408"/>
                <a:gd name="T30" fmla="*/ 94 w 582"/>
                <a:gd name="T31" fmla="*/ 255 h 408"/>
                <a:gd name="T32" fmla="*/ 129 w 582"/>
                <a:gd name="T33" fmla="*/ 249 h 408"/>
                <a:gd name="T34" fmla="*/ 167 w 582"/>
                <a:gd name="T35" fmla="*/ 217 h 408"/>
                <a:gd name="T36" fmla="*/ 265 w 582"/>
                <a:gd name="T37" fmla="*/ 408 h 408"/>
                <a:gd name="T38" fmla="*/ 245 w 582"/>
                <a:gd name="T39" fmla="*/ 376 h 408"/>
                <a:gd name="T40" fmla="*/ 295 w 582"/>
                <a:gd name="T41" fmla="*/ 277 h 408"/>
                <a:gd name="T42" fmla="*/ 345 w 582"/>
                <a:gd name="T43" fmla="*/ 269 h 408"/>
                <a:gd name="T44" fmla="*/ 395 w 582"/>
                <a:gd name="T45" fmla="*/ 231 h 408"/>
                <a:gd name="T46" fmla="*/ 409 w 582"/>
                <a:gd name="T47" fmla="*/ 249 h 408"/>
                <a:gd name="T48" fmla="*/ 439 w 582"/>
                <a:gd name="T49" fmla="*/ 307 h 408"/>
                <a:gd name="T50" fmla="*/ 486 w 582"/>
                <a:gd name="T51" fmla="*/ 329 h 408"/>
                <a:gd name="T52" fmla="*/ 536 w 582"/>
                <a:gd name="T53" fmla="*/ 333 h 408"/>
                <a:gd name="T54" fmla="*/ 512 w 582"/>
                <a:gd name="T55" fmla="*/ 205 h 408"/>
                <a:gd name="T56" fmla="*/ 530 w 582"/>
                <a:gd name="T57" fmla="*/ 225 h 408"/>
                <a:gd name="T58" fmla="*/ 520 w 582"/>
                <a:gd name="T59" fmla="*/ 293 h 408"/>
                <a:gd name="T60" fmla="*/ 482 w 582"/>
                <a:gd name="T61" fmla="*/ 277 h 408"/>
                <a:gd name="T62" fmla="*/ 470 w 582"/>
                <a:gd name="T63" fmla="*/ 241 h 408"/>
                <a:gd name="T64" fmla="*/ 470 w 582"/>
                <a:gd name="T65" fmla="*/ 163 h 408"/>
                <a:gd name="T66" fmla="*/ 504 w 582"/>
                <a:gd name="T67" fmla="*/ 121 h 408"/>
                <a:gd name="T68" fmla="*/ 84 w 582"/>
                <a:gd name="T69" fmla="*/ 221 h 408"/>
                <a:gd name="T70" fmla="*/ 58 w 582"/>
                <a:gd name="T71" fmla="*/ 121 h 408"/>
                <a:gd name="T72" fmla="*/ 66 w 582"/>
                <a:gd name="T73" fmla="*/ 109 h 408"/>
                <a:gd name="T74" fmla="*/ 92 w 582"/>
                <a:gd name="T75" fmla="*/ 107 h 408"/>
                <a:gd name="T76" fmla="*/ 121 w 582"/>
                <a:gd name="T77" fmla="*/ 141 h 408"/>
                <a:gd name="T78" fmla="*/ 118 w 582"/>
                <a:gd name="T79" fmla="*/ 193 h 408"/>
                <a:gd name="T80" fmla="*/ 96 w 582"/>
                <a:gd name="T81" fmla="*/ 219 h 408"/>
                <a:gd name="T82" fmla="*/ 291 w 582"/>
                <a:gd name="T83" fmla="*/ 229 h 408"/>
                <a:gd name="T84" fmla="*/ 245 w 582"/>
                <a:gd name="T85" fmla="*/ 217 h 408"/>
                <a:gd name="T86" fmla="*/ 249 w 582"/>
                <a:gd name="T87" fmla="*/ 56 h 408"/>
                <a:gd name="T88" fmla="*/ 273 w 582"/>
                <a:gd name="T89" fmla="*/ 42 h 408"/>
                <a:gd name="T90" fmla="*/ 317 w 582"/>
                <a:gd name="T91" fmla="*/ 48 h 408"/>
                <a:gd name="T92" fmla="*/ 341 w 582"/>
                <a:gd name="T93" fmla="*/ 75 h 408"/>
                <a:gd name="T94" fmla="*/ 351 w 582"/>
                <a:gd name="T95" fmla="*/ 131 h 408"/>
                <a:gd name="T96" fmla="*/ 335 w 582"/>
                <a:gd name="T97" fmla="*/ 201 h 408"/>
                <a:gd name="T98" fmla="*/ 299 w 582"/>
                <a:gd name="T99" fmla="*/ 22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2" h="408">
                  <a:moveTo>
                    <a:pt x="510" y="117"/>
                  </a:moveTo>
                  <a:lnTo>
                    <a:pt x="510" y="117"/>
                  </a:lnTo>
                  <a:lnTo>
                    <a:pt x="520" y="115"/>
                  </a:lnTo>
                  <a:lnTo>
                    <a:pt x="530" y="115"/>
                  </a:lnTo>
                  <a:lnTo>
                    <a:pt x="540" y="115"/>
                  </a:lnTo>
                  <a:lnTo>
                    <a:pt x="548" y="117"/>
                  </a:lnTo>
                  <a:lnTo>
                    <a:pt x="566" y="125"/>
                  </a:lnTo>
                  <a:lnTo>
                    <a:pt x="582" y="135"/>
                  </a:lnTo>
                  <a:lnTo>
                    <a:pt x="582" y="81"/>
                  </a:lnTo>
                  <a:lnTo>
                    <a:pt x="582" y="81"/>
                  </a:lnTo>
                  <a:lnTo>
                    <a:pt x="560" y="77"/>
                  </a:lnTo>
                  <a:lnTo>
                    <a:pt x="538" y="75"/>
                  </a:lnTo>
                  <a:lnTo>
                    <a:pt x="520" y="75"/>
                  </a:lnTo>
                  <a:lnTo>
                    <a:pt x="504" y="77"/>
                  </a:lnTo>
                  <a:lnTo>
                    <a:pt x="490" y="79"/>
                  </a:lnTo>
                  <a:lnTo>
                    <a:pt x="476" y="83"/>
                  </a:lnTo>
                  <a:lnTo>
                    <a:pt x="463" y="87"/>
                  </a:lnTo>
                  <a:lnTo>
                    <a:pt x="453" y="93"/>
                  </a:lnTo>
                  <a:lnTo>
                    <a:pt x="453" y="93"/>
                  </a:lnTo>
                  <a:lnTo>
                    <a:pt x="439" y="105"/>
                  </a:lnTo>
                  <a:lnTo>
                    <a:pt x="429" y="115"/>
                  </a:lnTo>
                  <a:lnTo>
                    <a:pt x="423" y="127"/>
                  </a:lnTo>
                  <a:lnTo>
                    <a:pt x="423" y="127"/>
                  </a:lnTo>
                  <a:lnTo>
                    <a:pt x="421" y="129"/>
                  </a:lnTo>
                  <a:lnTo>
                    <a:pt x="421" y="129"/>
                  </a:lnTo>
                  <a:lnTo>
                    <a:pt x="419" y="105"/>
                  </a:lnTo>
                  <a:lnTo>
                    <a:pt x="417" y="83"/>
                  </a:lnTo>
                  <a:lnTo>
                    <a:pt x="411" y="64"/>
                  </a:lnTo>
                  <a:lnTo>
                    <a:pt x="405" y="50"/>
                  </a:lnTo>
                  <a:lnTo>
                    <a:pt x="395" y="36"/>
                  </a:lnTo>
                  <a:lnTo>
                    <a:pt x="387" y="26"/>
                  </a:lnTo>
                  <a:lnTo>
                    <a:pt x="375" y="18"/>
                  </a:lnTo>
                  <a:lnTo>
                    <a:pt x="363" y="12"/>
                  </a:lnTo>
                  <a:lnTo>
                    <a:pt x="349" y="8"/>
                  </a:lnTo>
                  <a:lnTo>
                    <a:pt x="335" y="4"/>
                  </a:lnTo>
                  <a:lnTo>
                    <a:pt x="303" y="2"/>
                  </a:lnTo>
                  <a:lnTo>
                    <a:pt x="267" y="0"/>
                  </a:lnTo>
                  <a:lnTo>
                    <a:pt x="231" y="0"/>
                  </a:lnTo>
                  <a:lnTo>
                    <a:pt x="231" y="0"/>
                  </a:lnTo>
                  <a:lnTo>
                    <a:pt x="173" y="0"/>
                  </a:lnTo>
                  <a:lnTo>
                    <a:pt x="173" y="121"/>
                  </a:lnTo>
                  <a:lnTo>
                    <a:pt x="173" y="121"/>
                  </a:lnTo>
                  <a:lnTo>
                    <a:pt x="169" y="113"/>
                  </a:lnTo>
                  <a:lnTo>
                    <a:pt x="165" y="105"/>
                  </a:lnTo>
                  <a:lnTo>
                    <a:pt x="161" y="99"/>
                  </a:lnTo>
                  <a:lnTo>
                    <a:pt x="155" y="95"/>
                  </a:lnTo>
                  <a:lnTo>
                    <a:pt x="141" y="87"/>
                  </a:lnTo>
                  <a:lnTo>
                    <a:pt x="125" y="81"/>
                  </a:lnTo>
                  <a:lnTo>
                    <a:pt x="108" y="79"/>
                  </a:lnTo>
                  <a:lnTo>
                    <a:pt x="88" y="77"/>
                  </a:lnTo>
                  <a:lnTo>
                    <a:pt x="48" y="77"/>
                  </a:lnTo>
                  <a:lnTo>
                    <a:pt x="48" y="77"/>
                  </a:lnTo>
                  <a:lnTo>
                    <a:pt x="0" y="77"/>
                  </a:lnTo>
                  <a:lnTo>
                    <a:pt x="0" y="331"/>
                  </a:lnTo>
                  <a:lnTo>
                    <a:pt x="78" y="331"/>
                  </a:lnTo>
                  <a:lnTo>
                    <a:pt x="78" y="331"/>
                  </a:lnTo>
                  <a:lnTo>
                    <a:pt x="70" y="327"/>
                  </a:lnTo>
                  <a:lnTo>
                    <a:pt x="64" y="319"/>
                  </a:lnTo>
                  <a:lnTo>
                    <a:pt x="60" y="311"/>
                  </a:lnTo>
                  <a:lnTo>
                    <a:pt x="58" y="299"/>
                  </a:lnTo>
                  <a:lnTo>
                    <a:pt x="58" y="229"/>
                  </a:lnTo>
                  <a:lnTo>
                    <a:pt x="80" y="253"/>
                  </a:lnTo>
                  <a:lnTo>
                    <a:pt x="80" y="253"/>
                  </a:lnTo>
                  <a:lnTo>
                    <a:pt x="94" y="255"/>
                  </a:lnTo>
                  <a:lnTo>
                    <a:pt x="98" y="255"/>
                  </a:lnTo>
                  <a:lnTo>
                    <a:pt x="98" y="255"/>
                  </a:lnTo>
                  <a:lnTo>
                    <a:pt x="118" y="251"/>
                  </a:lnTo>
                  <a:lnTo>
                    <a:pt x="129" y="249"/>
                  </a:lnTo>
                  <a:lnTo>
                    <a:pt x="139" y="243"/>
                  </a:lnTo>
                  <a:lnTo>
                    <a:pt x="149" y="237"/>
                  </a:lnTo>
                  <a:lnTo>
                    <a:pt x="159" y="229"/>
                  </a:lnTo>
                  <a:lnTo>
                    <a:pt x="167" y="217"/>
                  </a:lnTo>
                  <a:lnTo>
                    <a:pt x="173" y="201"/>
                  </a:lnTo>
                  <a:lnTo>
                    <a:pt x="173" y="408"/>
                  </a:lnTo>
                  <a:lnTo>
                    <a:pt x="265" y="408"/>
                  </a:lnTo>
                  <a:lnTo>
                    <a:pt x="265" y="408"/>
                  </a:lnTo>
                  <a:lnTo>
                    <a:pt x="257" y="404"/>
                  </a:lnTo>
                  <a:lnTo>
                    <a:pt x="251" y="396"/>
                  </a:lnTo>
                  <a:lnTo>
                    <a:pt x="247" y="388"/>
                  </a:lnTo>
                  <a:lnTo>
                    <a:pt x="245" y="376"/>
                  </a:lnTo>
                  <a:lnTo>
                    <a:pt x="245" y="237"/>
                  </a:lnTo>
                  <a:lnTo>
                    <a:pt x="281" y="273"/>
                  </a:lnTo>
                  <a:lnTo>
                    <a:pt x="281" y="273"/>
                  </a:lnTo>
                  <a:lnTo>
                    <a:pt x="295" y="277"/>
                  </a:lnTo>
                  <a:lnTo>
                    <a:pt x="309" y="277"/>
                  </a:lnTo>
                  <a:lnTo>
                    <a:pt x="309" y="277"/>
                  </a:lnTo>
                  <a:lnTo>
                    <a:pt x="333" y="273"/>
                  </a:lnTo>
                  <a:lnTo>
                    <a:pt x="345" y="269"/>
                  </a:lnTo>
                  <a:lnTo>
                    <a:pt x="359" y="263"/>
                  </a:lnTo>
                  <a:lnTo>
                    <a:pt x="371" y="255"/>
                  </a:lnTo>
                  <a:lnTo>
                    <a:pt x="385" y="245"/>
                  </a:lnTo>
                  <a:lnTo>
                    <a:pt x="395" y="231"/>
                  </a:lnTo>
                  <a:lnTo>
                    <a:pt x="405" y="215"/>
                  </a:lnTo>
                  <a:lnTo>
                    <a:pt x="405" y="215"/>
                  </a:lnTo>
                  <a:lnTo>
                    <a:pt x="407" y="233"/>
                  </a:lnTo>
                  <a:lnTo>
                    <a:pt x="409" y="249"/>
                  </a:lnTo>
                  <a:lnTo>
                    <a:pt x="415" y="265"/>
                  </a:lnTo>
                  <a:lnTo>
                    <a:pt x="421" y="281"/>
                  </a:lnTo>
                  <a:lnTo>
                    <a:pt x="429" y="293"/>
                  </a:lnTo>
                  <a:lnTo>
                    <a:pt x="439" y="307"/>
                  </a:lnTo>
                  <a:lnTo>
                    <a:pt x="453" y="317"/>
                  </a:lnTo>
                  <a:lnTo>
                    <a:pt x="470" y="325"/>
                  </a:lnTo>
                  <a:lnTo>
                    <a:pt x="470" y="325"/>
                  </a:lnTo>
                  <a:lnTo>
                    <a:pt x="486" y="329"/>
                  </a:lnTo>
                  <a:lnTo>
                    <a:pt x="502" y="333"/>
                  </a:lnTo>
                  <a:lnTo>
                    <a:pt x="518" y="333"/>
                  </a:lnTo>
                  <a:lnTo>
                    <a:pt x="536" y="333"/>
                  </a:lnTo>
                  <a:lnTo>
                    <a:pt x="536" y="333"/>
                  </a:lnTo>
                  <a:lnTo>
                    <a:pt x="560" y="331"/>
                  </a:lnTo>
                  <a:lnTo>
                    <a:pt x="582" y="329"/>
                  </a:lnTo>
                  <a:lnTo>
                    <a:pt x="582" y="203"/>
                  </a:lnTo>
                  <a:lnTo>
                    <a:pt x="512" y="205"/>
                  </a:lnTo>
                  <a:lnTo>
                    <a:pt x="512" y="205"/>
                  </a:lnTo>
                  <a:lnTo>
                    <a:pt x="522" y="209"/>
                  </a:lnTo>
                  <a:lnTo>
                    <a:pt x="528" y="215"/>
                  </a:lnTo>
                  <a:lnTo>
                    <a:pt x="530" y="225"/>
                  </a:lnTo>
                  <a:lnTo>
                    <a:pt x="532" y="235"/>
                  </a:lnTo>
                  <a:lnTo>
                    <a:pt x="532" y="291"/>
                  </a:lnTo>
                  <a:lnTo>
                    <a:pt x="532" y="291"/>
                  </a:lnTo>
                  <a:lnTo>
                    <a:pt x="520" y="293"/>
                  </a:lnTo>
                  <a:lnTo>
                    <a:pt x="506" y="291"/>
                  </a:lnTo>
                  <a:lnTo>
                    <a:pt x="492" y="287"/>
                  </a:lnTo>
                  <a:lnTo>
                    <a:pt x="488" y="281"/>
                  </a:lnTo>
                  <a:lnTo>
                    <a:pt x="482" y="277"/>
                  </a:lnTo>
                  <a:lnTo>
                    <a:pt x="482" y="277"/>
                  </a:lnTo>
                  <a:lnTo>
                    <a:pt x="478" y="267"/>
                  </a:lnTo>
                  <a:lnTo>
                    <a:pt x="474" y="255"/>
                  </a:lnTo>
                  <a:lnTo>
                    <a:pt x="470" y="241"/>
                  </a:lnTo>
                  <a:lnTo>
                    <a:pt x="468" y="227"/>
                  </a:lnTo>
                  <a:lnTo>
                    <a:pt x="468" y="195"/>
                  </a:lnTo>
                  <a:lnTo>
                    <a:pt x="470" y="163"/>
                  </a:lnTo>
                  <a:lnTo>
                    <a:pt x="470" y="163"/>
                  </a:lnTo>
                  <a:lnTo>
                    <a:pt x="476" y="149"/>
                  </a:lnTo>
                  <a:lnTo>
                    <a:pt x="484" y="135"/>
                  </a:lnTo>
                  <a:lnTo>
                    <a:pt x="496" y="125"/>
                  </a:lnTo>
                  <a:lnTo>
                    <a:pt x="504" y="121"/>
                  </a:lnTo>
                  <a:lnTo>
                    <a:pt x="510" y="117"/>
                  </a:lnTo>
                  <a:lnTo>
                    <a:pt x="510" y="117"/>
                  </a:lnTo>
                  <a:close/>
                  <a:moveTo>
                    <a:pt x="84" y="221"/>
                  </a:moveTo>
                  <a:lnTo>
                    <a:pt x="84" y="221"/>
                  </a:lnTo>
                  <a:lnTo>
                    <a:pt x="72" y="219"/>
                  </a:lnTo>
                  <a:lnTo>
                    <a:pt x="64" y="217"/>
                  </a:lnTo>
                  <a:lnTo>
                    <a:pt x="58" y="211"/>
                  </a:lnTo>
                  <a:lnTo>
                    <a:pt x="58" y="121"/>
                  </a:lnTo>
                  <a:lnTo>
                    <a:pt x="58" y="121"/>
                  </a:lnTo>
                  <a:lnTo>
                    <a:pt x="60" y="115"/>
                  </a:lnTo>
                  <a:lnTo>
                    <a:pt x="62" y="111"/>
                  </a:lnTo>
                  <a:lnTo>
                    <a:pt x="66" y="109"/>
                  </a:lnTo>
                  <a:lnTo>
                    <a:pt x="72" y="107"/>
                  </a:lnTo>
                  <a:lnTo>
                    <a:pt x="72" y="107"/>
                  </a:lnTo>
                  <a:lnTo>
                    <a:pt x="84" y="105"/>
                  </a:lnTo>
                  <a:lnTo>
                    <a:pt x="92" y="107"/>
                  </a:lnTo>
                  <a:lnTo>
                    <a:pt x="100" y="111"/>
                  </a:lnTo>
                  <a:lnTo>
                    <a:pt x="110" y="117"/>
                  </a:lnTo>
                  <a:lnTo>
                    <a:pt x="116" y="125"/>
                  </a:lnTo>
                  <a:lnTo>
                    <a:pt x="121" y="141"/>
                  </a:lnTo>
                  <a:lnTo>
                    <a:pt x="123" y="161"/>
                  </a:lnTo>
                  <a:lnTo>
                    <a:pt x="123" y="161"/>
                  </a:lnTo>
                  <a:lnTo>
                    <a:pt x="123" y="179"/>
                  </a:lnTo>
                  <a:lnTo>
                    <a:pt x="118" y="193"/>
                  </a:lnTo>
                  <a:lnTo>
                    <a:pt x="114" y="205"/>
                  </a:lnTo>
                  <a:lnTo>
                    <a:pt x="108" y="211"/>
                  </a:lnTo>
                  <a:lnTo>
                    <a:pt x="102" y="217"/>
                  </a:lnTo>
                  <a:lnTo>
                    <a:pt x="96" y="219"/>
                  </a:lnTo>
                  <a:lnTo>
                    <a:pt x="84" y="221"/>
                  </a:lnTo>
                  <a:lnTo>
                    <a:pt x="84" y="221"/>
                  </a:lnTo>
                  <a:close/>
                  <a:moveTo>
                    <a:pt x="291" y="229"/>
                  </a:moveTo>
                  <a:lnTo>
                    <a:pt x="291" y="229"/>
                  </a:lnTo>
                  <a:lnTo>
                    <a:pt x="273" y="227"/>
                  </a:lnTo>
                  <a:lnTo>
                    <a:pt x="259" y="223"/>
                  </a:lnTo>
                  <a:lnTo>
                    <a:pt x="249" y="219"/>
                  </a:lnTo>
                  <a:lnTo>
                    <a:pt x="245" y="217"/>
                  </a:lnTo>
                  <a:lnTo>
                    <a:pt x="245" y="64"/>
                  </a:lnTo>
                  <a:lnTo>
                    <a:pt x="245" y="64"/>
                  </a:lnTo>
                  <a:lnTo>
                    <a:pt x="247" y="60"/>
                  </a:lnTo>
                  <a:lnTo>
                    <a:pt x="249" y="56"/>
                  </a:lnTo>
                  <a:lnTo>
                    <a:pt x="255" y="48"/>
                  </a:lnTo>
                  <a:lnTo>
                    <a:pt x="263" y="44"/>
                  </a:lnTo>
                  <a:lnTo>
                    <a:pt x="273" y="42"/>
                  </a:lnTo>
                  <a:lnTo>
                    <a:pt x="273" y="42"/>
                  </a:lnTo>
                  <a:lnTo>
                    <a:pt x="281" y="40"/>
                  </a:lnTo>
                  <a:lnTo>
                    <a:pt x="291" y="40"/>
                  </a:lnTo>
                  <a:lnTo>
                    <a:pt x="303" y="42"/>
                  </a:lnTo>
                  <a:lnTo>
                    <a:pt x="317" y="48"/>
                  </a:lnTo>
                  <a:lnTo>
                    <a:pt x="323" y="52"/>
                  </a:lnTo>
                  <a:lnTo>
                    <a:pt x="329" y="58"/>
                  </a:lnTo>
                  <a:lnTo>
                    <a:pt x="335" y="64"/>
                  </a:lnTo>
                  <a:lnTo>
                    <a:pt x="341" y="75"/>
                  </a:lnTo>
                  <a:lnTo>
                    <a:pt x="345" y="85"/>
                  </a:lnTo>
                  <a:lnTo>
                    <a:pt x="347" y="97"/>
                  </a:lnTo>
                  <a:lnTo>
                    <a:pt x="349" y="113"/>
                  </a:lnTo>
                  <a:lnTo>
                    <a:pt x="351" y="131"/>
                  </a:lnTo>
                  <a:lnTo>
                    <a:pt x="351" y="131"/>
                  </a:lnTo>
                  <a:lnTo>
                    <a:pt x="349" y="159"/>
                  </a:lnTo>
                  <a:lnTo>
                    <a:pt x="343" y="183"/>
                  </a:lnTo>
                  <a:lnTo>
                    <a:pt x="335" y="201"/>
                  </a:lnTo>
                  <a:lnTo>
                    <a:pt x="327" y="213"/>
                  </a:lnTo>
                  <a:lnTo>
                    <a:pt x="317" y="221"/>
                  </a:lnTo>
                  <a:lnTo>
                    <a:pt x="307" y="227"/>
                  </a:lnTo>
                  <a:lnTo>
                    <a:pt x="299" y="229"/>
                  </a:lnTo>
                  <a:lnTo>
                    <a:pt x="291" y="229"/>
                  </a:lnTo>
                  <a:lnTo>
                    <a:pt x="291" y="2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grpSp>
    </p:spTree>
    <p:extLst>
      <p:ext uri="{BB962C8B-B14F-4D97-AF65-F5344CB8AC3E}">
        <p14:creationId xmlns:p14="http://schemas.microsoft.com/office/powerpoint/2010/main" val="21546076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person cooking food on a stove&#10;&#10;Description automatically generated with medium confidence">
            <a:extLst>
              <a:ext uri="{FF2B5EF4-FFF2-40B4-BE49-F238E27FC236}">
                <a16:creationId xmlns:a16="http://schemas.microsoft.com/office/drawing/2014/main" id="{2CF7982F-C6FE-4553-B02D-BA05999B9E90}"/>
              </a:ext>
            </a:extLst>
          </p:cNvPr>
          <p:cNvPicPr>
            <a:picLocks noChangeAspect="1"/>
          </p:cNvPicPr>
          <p:nvPr/>
        </p:nvPicPr>
        <p:blipFill rotWithShape="1">
          <a:blip r:embed="rId2"/>
          <a:srcRect l="4693" r="16542"/>
          <a:stretch/>
        </p:blipFill>
        <p:spPr>
          <a:xfrm>
            <a:off x="4286820" y="170358"/>
            <a:ext cx="7902006" cy="6687642"/>
          </a:xfrm>
          <a:prstGeom prst="rect">
            <a:avLst/>
          </a:prstGeom>
        </p:spPr>
      </p:pic>
      <p:grpSp>
        <p:nvGrpSpPr>
          <p:cNvPr id="18" name="Group 17">
            <a:extLst>
              <a:ext uri="{FF2B5EF4-FFF2-40B4-BE49-F238E27FC236}">
                <a16:creationId xmlns:a16="http://schemas.microsoft.com/office/drawing/2014/main" id="{AC20D259-C9B8-4D18-ABD1-82F8116EFD0C}"/>
              </a:ext>
            </a:extLst>
          </p:cNvPr>
          <p:cNvGrpSpPr/>
          <p:nvPr/>
        </p:nvGrpSpPr>
        <p:grpSpPr>
          <a:xfrm>
            <a:off x="982008" y="170358"/>
            <a:ext cx="6877063" cy="6687642"/>
            <a:chOff x="-1" y="892"/>
            <a:chExt cx="7051663" cy="6891986"/>
          </a:xfrm>
        </p:grpSpPr>
        <p:sp>
          <p:nvSpPr>
            <p:cNvPr id="19" name="Rectangle 18">
              <a:extLst>
                <a:ext uri="{FF2B5EF4-FFF2-40B4-BE49-F238E27FC236}">
                  <a16:creationId xmlns:a16="http://schemas.microsoft.com/office/drawing/2014/main" id="{5E4CF04F-89C3-40A3-A375-1C6CFBFD167A}"/>
                </a:ext>
              </a:extLst>
            </p:cNvPr>
            <p:cNvSpPr/>
            <p:nvPr/>
          </p:nvSpPr>
          <p:spPr>
            <a:xfrm>
              <a:off x="-1" y="892"/>
              <a:ext cx="3588968" cy="68919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20" name="Rectangle 5">
              <a:extLst>
                <a:ext uri="{FF2B5EF4-FFF2-40B4-BE49-F238E27FC236}">
                  <a16:creationId xmlns:a16="http://schemas.microsoft.com/office/drawing/2014/main" id="{720929A2-0968-4151-9B3C-B24321AD4033}"/>
                </a:ext>
              </a:extLst>
            </p:cNvPr>
            <p:cNvSpPr/>
            <p:nvPr/>
          </p:nvSpPr>
          <p:spPr>
            <a:xfrm flipH="1" flipV="1">
              <a:off x="3523986" y="892"/>
              <a:ext cx="3527676" cy="6891986"/>
            </a:xfrm>
            <a:custGeom>
              <a:avLst/>
              <a:gdLst>
                <a:gd name="connsiteX0" fmla="*/ 0 w 5613621"/>
                <a:gd name="connsiteY0" fmla="*/ 0 h 5613621"/>
                <a:gd name="connsiteX1" fmla="*/ 5613621 w 5613621"/>
                <a:gd name="connsiteY1" fmla="*/ 0 h 5613621"/>
                <a:gd name="connsiteX2" fmla="*/ 5613621 w 5613621"/>
                <a:gd name="connsiteY2" fmla="*/ 5613621 h 5613621"/>
                <a:gd name="connsiteX3" fmla="*/ 0 w 5613621"/>
                <a:gd name="connsiteY3" fmla="*/ 5613621 h 5613621"/>
                <a:gd name="connsiteX4" fmla="*/ 0 w 5613621"/>
                <a:gd name="connsiteY4" fmla="*/ 0 h 5613621"/>
                <a:gd name="connsiteX0" fmla="*/ 0 w 5613621"/>
                <a:gd name="connsiteY0" fmla="*/ 5613621 h 5613621"/>
                <a:gd name="connsiteX1" fmla="*/ 5613621 w 5613621"/>
                <a:gd name="connsiteY1" fmla="*/ 0 h 5613621"/>
                <a:gd name="connsiteX2" fmla="*/ 5613621 w 5613621"/>
                <a:gd name="connsiteY2" fmla="*/ 5613621 h 5613621"/>
                <a:gd name="connsiteX3" fmla="*/ 0 w 5613621"/>
                <a:gd name="connsiteY3" fmla="*/ 5613621 h 5613621"/>
              </a:gdLst>
              <a:ahLst/>
              <a:cxnLst>
                <a:cxn ang="0">
                  <a:pos x="connsiteX0" y="connsiteY0"/>
                </a:cxn>
                <a:cxn ang="0">
                  <a:pos x="connsiteX1" y="connsiteY1"/>
                </a:cxn>
                <a:cxn ang="0">
                  <a:pos x="connsiteX2" y="connsiteY2"/>
                </a:cxn>
                <a:cxn ang="0">
                  <a:pos x="connsiteX3" y="connsiteY3"/>
                </a:cxn>
              </a:cxnLst>
              <a:rect l="l" t="t" r="r" b="b"/>
              <a:pathLst>
                <a:path w="5613621" h="5613621">
                  <a:moveTo>
                    <a:pt x="0" y="5613621"/>
                  </a:moveTo>
                  <a:lnTo>
                    <a:pt x="5613621" y="0"/>
                  </a:lnTo>
                  <a:lnTo>
                    <a:pt x="5613621" y="5613621"/>
                  </a:lnTo>
                  <a:lnTo>
                    <a:pt x="0" y="5613621"/>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grpSp>
      <p:sp>
        <p:nvSpPr>
          <p:cNvPr id="2" name="Slide Number Placeholder 1"/>
          <p:cNvSpPr>
            <a:spLocks noGrp="1"/>
          </p:cNvSpPr>
          <p:nvPr>
            <p:ph type="sldNum" sz="quarter" idx="11"/>
          </p:nvPr>
        </p:nvSpPr>
        <p:spPr>
          <a:xfrm>
            <a:off x="307975" y="6496406"/>
            <a:ext cx="455637" cy="172221"/>
          </a:xfrm>
        </p:spPr>
        <p:txBody>
          <a:bodyPr/>
          <a:lstStyle/>
          <a:p>
            <a:fld id="{FD9C4343-C115-504A-8D4F-0B17318D4A48}" type="slidenum">
              <a:rPr lang="en-US" smtClean="0"/>
              <a:pPr/>
              <a:t>35</a:t>
            </a:fld>
            <a:endParaRPr lang="en-US"/>
          </a:p>
        </p:txBody>
      </p:sp>
      <p:sp>
        <p:nvSpPr>
          <p:cNvPr id="3" name="Content Placeholder 2"/>
          <p:cNvSpPr>
            <a:spLocks noGrp="1"/>
          </p:cNvSpPr>
          <p:nvPr>
            <p:ph idx="1"/>
          </p:nvPr>
        </p:nvSpPr>
        <p:spPr>
          <a:xfrm>
            <a:off x="376808" y="1255847"/>
            <a:ext cx="5614417" cy="3068503"/>
          </a:xfrm>
        </p:spPr>
        <p:txBody>
          <a:bodyPr vert="horz" lIns="0" tIns="0" rIns="0" bIns="0" rtlCol="0" anchor="t">
            <a:normAutofit/>
          </a:bodyPr>
          <a:lstStyle/>
          <a:p>
            <a:pPr marL="0" indent="0">
              <a:buNone/>
            </a:pPr>
            <a:r>
              <a:rPr lang="en-US" altLang="en-US" sz="2000" b="1">
                <a:solidFill>
                  <a:schemeClr val="accent1"/>
                </a:solidFill>
              </a:rPr>
              <a:t>PPG publishes strict specifications for all our coatings. Adherence to these is crucial to achieving and maintaining maximum quality. </a:t>
            </a:r>
            <a:endParaRPr lang="en-US" sz="2000" b="1">
              <a:solidFill>
                <a:schemeClr val="accent1"/>
              </a:solidFill>
            </a:endParaRPr>
          </a:p>
          <a:p>
            <a:pPr marL="0" indent="0">
              <a:spcBef>
                <a:spcPts val="1200"/>
              </a:spcBef>
              <a:buNone/>
            </a:pPr>
            <a:r>
              <a:rPr lang="en-US" sz="1800"/>
              <a:t>QCP Member Manufacturers who use our coatings must submit products on a regular basis for verification of the three main characteristics of all coatings:</a:t>
            </a:r>
          </a:p>
          <a:p>
            <a:pPr marL="233045" indent="-233045"/>
            <a:r>
              <a:rPr lang="en-US" sz="1800"/>
              <a:t>Proper surface preparation</a:t>
            </a:r>
          </a:p>
          <a:p>
            <a:pPr marL="233045" indent="-233045"/>
            <a:r>
              <a:rPr lang="en-US" sz="1800"/>
              <a:t>Film thickness</a:t>
            </a:r>
          </a:p>
          <a:p>
            <a:pPr marL="233045" indent="-233045"/>
            <a:r>
              <a:rPr lang="en-US" sz="1800"/>
              <a:t>Proper cure</a:t>
            </a:r>
          </a:p>
          <a:p>
            <a:pPr marL="233045" indent="-233045"/>
            <a:endParaRPr lang="en-US" sz="1800"/>
          </a:p>
          <a:p>
            <a:pPr marL="233045" indent="-233045"/>
            <a:endParaRPr lang="en-US" sz="1800"/>
          </a:p>
        </p:txBody>
      </p:sp>
      <p:sp>
        <p:nvSpPr>
          <p:cNvPr id="4" name="Title 3"/>
          <p:cNvSpPr>
            <a:spLocks noGrp="1"/>
          </p:cNvSpPr>
          <p:nvPr>
            <p:ph type="title"/>
          </p:nvPr>
        </p:nvSpPr>
        <p:spPr>
          <a:xfrm>
            <a:off x="312738" y="323850"/>
            <a:ext cx="11668125" cy="858838"/>
          </a:xfrm>
        </p:spPr>
        <p:txBody>
          <a:bodyPr/>
          <a:lstStyle/>
          <a:p>
            <a:r>
              <a:rPr lang="en-US"/>
              <a:t>Quality Cooperative Program (QCP)</a:t>
            </a:r>
          </a:p>
        </p:txBody>
      </p:sp>
      <p:sp>
        <p:nvSpPr>
          <p:cNvPr id="8" name="Rectangle 7"/>
          <p:cNvSpPr/>
          <p:nvPr/>
        </p:nvSpPr>
        <p:spPr>
          <a:xfrm>
            <a:off x="1" y="4463134"/>
            <a:ext cx="3923730" cy="978729"/>
          </a:xfrm>
          <a:prstGeom prst="rect">
            <a:avLst/>
          </a:prstGeom>
          <a:solidFill>
            <a:schemeClr val="accent6"/>
          </a:solidFill>
        </p:spPr>
        <p:txBody>
          <a:bodyPr wrap="square" lIns="365760">
            <a:spAutoFit/>
          </a:bodyPr>
          <a:lstStyle/>
          <a:p>
            <a:pPr>
              <a:lnSpc>
                <a:spcPct val="90000"/>
              </a:lnSpc>
            </a:pPr>
            <a:r>
              <a:rPr lang="en-US" sz="1600">
                <a:solidFill>
                  <a:schemeClr val="bg1"/>
                </a:solidFill>
                <a:latin typeface="+mj-lt"/>
              </a:rPr>
              <a:t>Important note: PPG is not the FINAL QC Check. Be sure your QC teams are checking products and production lines before the items ship. </a:t>
            </a:r>
          </a:p>
        </p:txBody>
      </p:sp>
      <p:grpSp>
        <p:nvGrpSpPr>
          <p:cNvPr id="10" name="Group 9">
            <a:extLst>
              <a:ext uri="{FF2B5EF4-FFF2-40B4-BE49-F238E27FC236}">
                <a16:creationId xmlns:a16="http://schemas.microsoft.com/office/drawing/2014/main" id="{633A3E68-CA48-417D-92A9-4420FD24F236}"/>
              </a:ext>
            </a:extLst>
          </p:cNvPr>
          <p:cNvGrpSpPr/>
          <p:nvPr/>
        </p:nvGrpSpPr>
        <p:grpSpPr>
          <a:xfrm>
            <a:off x="11267231" y="6148330"/>
            <a:ext cx="664418" cy="525190"/>
            <a:chOff x="10850888" y="5174158"/>
            <a:chExt cx="664418" cy="525190"/>
          </a:xfrm>
        </p:grpSpPr>
        <p:sp>
          <p:nvSpPr>
            <p:cNvPr id="11" name="Freeform: Shape 10">
              <a:extLst>
                <a:ext uri="{FF2B5EF4-FFF2-40B4-BE49-F238E27FC236}">
                  <a16:creationId xmlns:a16="http://schemas.microsoft.com/office/drawing/2014/main" id="{C7061FAE-56CC-4C3B-A883-E1DC41CAEED8}"/>
                </a:ext>
              </a:extLst>
            </p:cNvPr>
            <p:cNvSpPr/>
            <p:nvPr/>
          </p:nvSpPr>
          <p:spPr>
            <a:xfrm>
              <a:off x="10850888" y="5174158"/>
              <a:ext cx="664418" cy="525190"/>
            </a:xfrm>
            <a:custGeom>
              <a:avLst/>
              <a:gdLst>
                <a:gd name="connsiteX0" fmla="*/ 538546 w 664418"/>
                <a:gd name="connsiteY0" fmla="*/ 525191 h 525190"/>
                <a:gd name="connsiteX1" fmla="*/ 125872 w 664418"/>
                <a:gd name="connsiteY1" fmla="*/ 525191 h 525190"/>
                <a:gd name="connsiteX2" fmla="*/ 0 w 664418"/>
                <a:gd name="connsiteY2" fmla="*/ 399319 h 525190"/>
                <a:gd name="connsiteX3" fmla="*/ 0 w 664418"/>
                <a:gd name="connsiteY3" fmla="*/ 125872 h 525190"/>
                <a:gd name="connsiteX4" fmla="*/ 125872 w 664418"/>
                <a:gd name="connsiteY4" fmla="*/ 0 h 525190"/>
                <a:gd name="connsiteX5" fmla="*/ 538546 w 664418"/>
                <a:gd name="connsiteY5" fmla="*/ 0 h 525190"/>
                <a:gd name="connsiteX6" fmla="*/ 664418 w 664418"/>
                <a:gd name="connsiteY6" fmla="*/ 125872 h 525190"/>
                <a:gd name="connsiteX7" fmla="*/ 664418 w 664418"/>
                <a:gd name="connsiteY7" fmla="*/ 399319 h 525190"/>
                <a:gd name="connsiteX8" fmla="*/ 538546 w 664418"/>
                <a:gd name="connsiteY8" fmla="*/ 525191 h 52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418" h="525190">
                  <a:moveTo>
                    <a:pt x="538546" y="525191"/>
                  </a:moveTo>
                  <a:lnTo>
                    <a:pt x="125872" y="525191"/>
                  </a:lnTo>
                  <a:cubicBezTo>
                    <a:pt x="56425" y="525191"/>
                    <a:pt x="0" y="468765"/>
                    <a:pt x="0" y="399319"/>
                  </a:cubicBezTo>
                  <a:lnTo>
                    <a:pt x="0" y="125872"/>
                  </a:lnTo>
                  <a:cubicBezTo>
                    <a:pt x="0" y="56425"/>
                    <a:pt x="56425" y="0"/>
                    <a:pt x="125872" y="0"/>
                  </a:cubicBezTo>
                  <a:lnTo>
                    <a:pt x="538546" y="0"/>
                  </a:lnTo>
                  <a:cubicBezTo>
                    <a:pt x="607993" y="0"/>
                    <a:pt x="664418" y="56425"/>
                    <a:pt x="664418" y="125872"/>
                  </a:cubicBezTo>
                  <a:lnTo>
                    <a:pt x="664418" y="399319"/>
                  </a:lnTo>
                  <a:cubicBezTo>
                    <a:pt x="664418" y="468765"/>
                    <a:pt x="607993" y="525191"/>
                    <a:pt x="538546" y="525191"/>
                  </a:cubicBezTo>
                  <a:close/>
                </a:path>
              </a:pathLst>
            </a:custGeom>
            <a:solidFill>
              <a:srgbClr val="FFFFFF"/>
            </a:solidFill>
            <a:ln w="3303"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658EB003-C1AE-48AE-925A-744EDEAD1BFA}"/>
                </a:ext>
              </a:extLst>
            </p:cNvPr>
            <p:cNvSpPr/>
            <p:nvPr/>
          </p:nvSpPr>
          <p:spPr>
            <a:xfrm>
              <a:off x="10873257" y="5196527"/>
              <a:ext cx="619680" cy="480450"/>
            </a:xfrm>
            <a:custGeom>
              <a:avLst/>
              <a:gdLst>
                <a:gd name="connsiteX0" fmla="*/ 516176 w 619680"/>
                <a:gd name="connsiteY0" fmla="*/ 480451 h 480450"/>
                <a:gd name="connsiteX1" fmla="*/ 103502 w 619680"/>
                <a:gd name="connsiteY1" fmla="*/ 480451 h 480450"/>
                <a:gd name="connsiteX2" fmla="*/ 0 w 619680"/>
                <a:gd name="connsiteY2" fmla="*/ 376949 h 480450"/>
                <a:gd name="connsiteX3" fmla="*/ 0 w 619680"/>
                <a:gd name="connsiteY3" fmla="*/ 103502 h 480450"/>
                <a:gd name="connsiteX4" fmla="*/ 103502 w 619680"/>
                <a:gd name="connsiteY4" fmla="*/ 0 h 480450"/>
                <a:gd name="connsiteX5" fmla="*/ 516176 w 619680"/>
                <a:gd name="connsiteY5" fmla="*/ 0 h 480450"/>
                <a:gd name="connsiteX6" fmla="*/ 619678 w 619680"/>
                <a:gd name="connsiteY6" fmla="*/ 103502 h 480450"/>
                <a:gd name="connsiteX7" fmla="*/ 619678 w 619680"/>
                <a:gd name="connsiteY7" fmla="*/ 376949 h 480450"/>
                <a:gd name="connsiteX8" fmla="*/ 516176 w 619680"/>
                <a:gd name="connsiteY8" fmla="*/ 480451 h 4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680" h="480450">
                  <a:moveTo>
                    <a:pt x="516176" y="480451"/>
                  </a:moveTo>
                  <a:lnTo>
                    <a:pt x="103502" y="480451"/>
                  </a:lnTo>
                  <a:cubicBezTo>
                    <a:pt x="46409" y="480451"/>
                    <a:pt x="0" y="433708"/>
                    <a:pt x="0" y="376949"/>
                  </a:cubicBezTo>
                  <a:lnTo>
                    <a:pt x="0" y="103502"/>
                  </a:lnTo>
                  <a:cubicBezTo>
                    <a:pt x="0" y="46409"/>
                    <a:pt x="46743" y="0"/>
                    <a:pt x="103502" y="0"/>
                  </a:cubicBezTo>
                  <a:lnTo>
                    <a:pt x="516176" y="0"/>
                  </a:lnTo>
                  <a:cubicBezTo>
                    <a:pt x="573269" y="0"/>
                    <a:pt x="619678" y="46743"/>
                    <a:pt x="619678" y="103502"/>
                  </a:cubicBezTo>
                  <a:lnTo>
                    <a:pt x="619678" y="376949"/>
                  </a:lnTo>
                  <a:cubicBezTo>
                    <a:pt x="620012" y="434042"/>
                    <a:pt x="573269" y="480451"/>
                    <a:pt x="516176" y="480451"/>
                  </a:cubicBezTo>
                  <a:close/>
                </a:path>
              </a:pathLst>
            </a:custGeom>
            <a:solidFill>
              <a:srgbClr val="0078A9"/>
            </a:solidFill>
            <a:ln w="3303"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3ADC68C-E6EF-4438-9739-FD3FA85B9717}"/>
                </a:ext>
              </a:extLst>
            </p:cNvPr>
            <p:cNvSpPr/>
            <p:nvPr/>
          </p:nvSpPr>
          <p:spPr>
            <a:xfrm>
              <a:off x="10902639" y="5239677"/>
              <a:ext cx="561249" cy="393229"/>
            </a:xfrm>
            <a:custGeom>
              <a:avLst/>
              <a:gdLst>
                <a:gd name="connsiteX0" fmla="*/ 491135 w 561249"/>
                <a:gd name="connsiteY0" fmla="*/ 113106 h 393229"/>
                <a:gd name="connsiteX1" fmla="*/ 561250 w 561249"/>
                <a:gd name="connsiteY1" fmla="*/ 129800 h 393229"/>
                <a:gd name="connsiteX2" fmla="*/ 561250 w 561249"/>
                <a:gd name="connsiteY2" fmla="*/ 76379 h 393229"/>
                <a:gd name="connsiteX3" fmla="*/ 437047 w 561249"/>
                <a:gd name="connsiteY3" fmla="*/ 89066 h 393229"/>
                <a:gd name="connsiteX4" fmla="*/ 407332 w 561249"/>
                <a:gd name="connsiteY4" fmla="*/ 120785 h 393229"/>
                <a:gd name="connsiteX5" fmla="*/ 405996 w 561249"/>
                <a:gd name="connsiteY5" fmla="*/ 123456 h 393229"/>
                <a:gd name="connsiteX6" fmla="*/ 221695 w 561249"/>
                <a:gd name="connsiteY6" fmla="*/ 255 h 393229"/>
                <a:gd name="connsiteX7" fmla="*/ 166271 w 561249"/>
                <a:gd name="connsiteY7" fmla="*/ 255 h 393229"/>
                <a:gd name="connsiteX8" fmla="*/ 166271 w 561249"/>
                <a:gd name="connsiteY8" fmla="*/ 116445 h 393229"/>
                <a:gd name="connsiteX9" fmla="*/ 45407 w 561249"/>
                <a:gd name="connsiteY9" fmla="*/ 73374 h 393229"/>
                <a:gd name="connsiteX10" fmla="*/ 0 w 561249"/>
                <a:gd name="connsiteY10" fmla="*/ 73374 h 393229"/>
                <a:gd name="connsiteX11" fmla="*/ 0 w 561249"/>
                <a:gd name="connsiteY11" fmla="*/ 319109 h 393229"/>
                <a:gd name="connsiteX12" fmla="*/ 74455 w 561249"/>
                <a:gd name="connsiteY12" fmla="*/ 319109 h 393229"/>
                <a:gd name="connsiteX13" fmla="*/ 55758 w 561249"/>
                <a:gd name="connsiteY13" fmla="*/ 288392 h 393229"/>
                <a:gd name="connsiteX14" fmla="*/ 55758 w 561249"/>
                <a:gd name="connsiteY14" fmla="*/ 221616 h 393229"/>
                <a:gd name="connsiteX15" fmla="*/ 77126 w 561249"/>
                <a:gd name="connsiteY15" fmla="*/ 242984 h 393229"/>
                <a:gd name="connsiteX16" fmla="*/ 94821 w 561249"/>
                <a:gd name="connsiteY16" fmla="*/ 244988 h 393229"/>
                <a:gd name="connsiteX17" fmla="*/ 166271 w 561249"/>
                <a:gd name="connsiteY17" fmla="*/ 194238 h 393229"/>
                <a:gd name="connsiteX18" fmla="*/ 166271 w 561249"/>
                <a:gd name="connsiteY18" fmla="*/ 393230 h 393229"/>
                <a:gd name="connsiteX19" fmla="*/ 254749 w 561249"/>
                <a:gd name="connsiteY19" fmla="*/ 393230 h 393229"/>
                <a:gd name="connsiteX20" fmla="*/ 236052 w 561249"/>
                <a:gd name="connsiteY20" fmla="*/ 362847 h 393229"/>
                <a:gd name="connsiteX21" fmla="*/ 236052 w 561249"/>
                <a:gd name="connsiteY21" fmla="*/ 229295 h 393229"/>
                <a:gd name="connsiteX22" fmla="*/ 269774 w 561249"/>
                <a:gd name="connsiteY22" fmla="*/ 262683 h 393229"/>
                <a:gd name="connsiteX23" fmla="*/ 297820 w 561249"/>
                <a:gd name="connsiteY23" fmla="*/ 266690 h 393229"/>
                <a:gd name="connsiteX24" fmla="*/ 390972 w 561249"/>
                <a:gd name="connsiteY24" fmla="*/ 207593 h 393229"/>
                <a:gd name="connsiteX25" fmla="*/ 451737 w 561249"/>
                <a:gd name="connsiteY25" fmla="*/ 312765 h 393229"/>
                <a:gd name="connsiteX26" fmla="*/ 516844 w 561249"/>
                <a:gd name="connsiteY26" fmla="*/ 321112 h 393229"/>
                <a:gd name="connsiteX27" fmla="*/ 561250 w 561249"/>
                <a:gd name="connsiteY27" fmla="*/ 316772 h 393229"/>
                <a:gd name="connsiteX28" fmla="*/ 561250 w 561249"/>
                <a:gd name="connsiteY28" fmla="*/ 196575 h 393229"/>
                <a:gd name="connsiteX29" fmla="*/ 493472 w 561249"/>
                <a:gd name="connsiteY29" fmla="*/ 196575 h 393229"/>
                <a:gd name="connsiteX30" fmla="*/ 512169 w 561249"/>
                <a:gd name="connsiteY30" fmla="*/ 226624 h 393229"/>
                <a:gd name="connsiteX31" fmla="*/ 512169 w 561249"/>
                <a:gd name="connsiteY31" fmla="*/ 281714 h 393229"/>
                <a:gd name="connsiteX32" fmla="*/ 464091 w 561249"/>
                <a:gd name="connsiteY32" fmla="*/ 266690 h 393229"/>
                <a:gd name="connsiteX33" fmla="*/ 453073 w 561249"/>
                <a:gd name="connsiteY33" fmla="*/ 157512 h 393229"/>
                <a:gd name="connsiteX34" fmla="*/ 491135 w 561249"/>
                <a:gd name="connsiteY34" fmla="*/ 113106 h 393229"/>
                <a:gd name="connsiteX35" fmla="*/ 80799 w 561249"/>
                <a:gd name="connsiteY35" fmla="*/ 212268 h 393229"/>
                <a:gd name="connsiteX36" fmla="*/ 55424 w 561249"/>
                <a:gd name="connsiteY36" fmla="*/ 204588 h 393229"/>
                <a:gd name="connsiteX37" fmla="*/ 55424 w 561249"/>
                <a:gd name="connsiteY37" fmla="*/ 116111 h 393229"/>
                <a:gd name="connsiteX38" fmla="*/ 69113 w 561249"/>
                <a:gd name="connsiteY38" fmla="*/ 102422 h 393229"/>
                <a:gd name="connsiteX39" fmla="*/ 117859 w 561249"/>
                <a:gd name="connsiteY39" fmla="*/ 154173 h 393229"/>
                <a:gd name="connsiteX40" fmla="*/ 80799 w 561249"/>
                <a:gd name="connsiteY40" fmla="*/ 212268 h 393229"/>
                <a:gd name="connsiteX41" fmla="*/ 280792 w 561249"/>
                <a:gd name="connsiteY41" fmla="*/ 221282 h 393229"/>
                <a:gd name="connsiteX42" fmla="*/ 236052 w 561249"/>
                <a:gd name="connsiteY42" fmla="*/ 208595 h 393229"/>
                <a:gd name="connsiteX43" fmla="*/ 236052 w 561249"/>
                <a:gd name="connsiteY43" fmla="*/ 62022 h 393229"/>
                <a:gd name="connsiteX44" fmla="*/ 262762 w 561249"/>
                <a:gd name="connsiteY44" fmla="*/ 39986 h 393229"/>
                <a:gd name="connsiteX45" fmla="*/ 337217 w 561249"/>
                <a:gd name="connsiteY45" fmla="*/ 125125 h 393229"/>
                <a:gd name="connsiteX46" fmla="*/ 280792 w 561249"/>
                <a:gd name="connsiteY46" fmla="*/ 221282 h 39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61249" h="393229">
                  <a:moveTo>
                    <a:pt x="491135" y="113106"/>
                  </a:moveTo>
                  <a:cubicBezTo>
                    <a:pt x="515842" y="105760"/>
                    <a:pt x="541217" y="113440"/>
                    <a:pt x="561250" y="129800"/>
                  </a:cubicBezTo>
                  <a:lnTo>
                    <a:pt x="561250" y="76379"/>
                  </a:lnTo>
                  <a:cubicBezTo>
                    <a:pt x="496477" y="66029"/>
                    <a:pt x="462755" y="73040"/>
                    <a:pt x="437047" y="89066"/>
                  </a:cubicBezTo>
                  <a:cubicBezTo>
                    <a:pt x="416013" y="102422"/>
                    <a:pt x="407332" y="120785"/>
                    <a:pt x="407332" y="120785"/>
                  </a:cubicBezTo>
                  <a:cubicBezTo>
                    <a:pt x="407332" y="120785"/>
                    <a:pt x="406998" y="121787"/>
                    <a:pt x="405996" y="123456"/>
                  </a:cubicBezTo>
                  <a:cubicBezTo>
                    <a:pt x="402657" y="-11431"/>
                    <a:pt x="320189" y="255"/>
                    <a:pt x="221695" y="255"/>
                  </a:cubicBezTo>
                  <a:cubicBezTo>
                    <a:pt x="193983" y="255"/>
                    <a:pt x="166271" y="255"/>
                    <a:pt x="166271" y="255"/>
                  </a:cubicBezTo>
                  <a:lnTo>
                    <a:pt x="166271" y="116445"/>
                  </a:lnTo>
                  <a:cubicBezTo>
                    <a:pt x="149911" y="68366"/>
                    <a:pt x="99496" y="73374"/>
                    <a:pt x="45407" y="73374"/>
                  </a:cubicBezTo>
                  <a:cubicBezTo>
                    <a:pt x="25709" y="73374"/>
                    <a:pt x="0" y="73374"/>
                    <a:pt x="0" y="73374"/>
                  </a:cubicBezTo>
                  <a:lnTo>
                    <a:pt x="0" y="319109"/>
                  </a:lnTo>
                  <a:lnTo>
                    <a:pt x="74455" y="319109"/>
                  </a:lnTo>
                  <a:cubicBezTo>
                    <a:pt x="62101" y="314768"/>
                    <a:pt x="55758" y="304084"/>
                    <a:pt x="55758" y="288392"/>
                  </a:cubicBezTo>
                  <a:lnTo>
                    <a:pt x="55758" y="221616"/>
                  </a:lnTo>
                  <a:lnTo>
                    <a:pt x="77126" y="242984"/>
                  </a:lnTo>
                  <a:cubicBezTo>
                    <a:pt x="86475" y="245322"/>
                    <a:pt x="94821" y="244988"/>
                    <a:pt x="94821" y="244988"/>
                  </a:cubicBezTo>
                  <a:cubicBezTo>
                    <a:pt x="115522" y="243986"/>
                    <a:pt x="152249" y="235973"/>
                    <a:pt x="166271" y="194238"/>
                  </a:cubicBezTo>
                  <a:lnTo>
                    <a:pt x="166271" y="393230"/>
                  </a:lnTo>
                  <a:lnTo>
                    <a:pt x="254749" y="393230"/>
                  </a:lnTo>
                  <a:cubicBezTo>
                    <a:pt x="242396" y="388889"/>
                    <a:pt x="236052" y="378205"/>
                    <a:pt x="236052" y="362847"/>
                  </a:cubicBezTo>
                  <a:lnTo>
                    <a:pt x="236052" y="229295"/>
                  </a:lnTo>
                  <a:lnTo>
                    <a:pt x="269774" y="262683"/>
                  </a:lnTo>
                  <a:cubicBezTo>
                    <a:pt x="280458" y="266690"/>
                    <a:pt x="288471" y="267358"/>
                    <a:pt x="297820" y="266690"/>
                  </a:cubicBezTo>
                  <a:cubicBezTo>
                    <a:pt x="323528" y="265020"/>
                    <a:pt x="367934" y="254002"/>
                    <a:pt x="390972" y="207593"/>
                  </a:cubicBezTo>
                  <a:cubicBezTo>
                    <a:pt x="392975" y="251665"/>
                    <a:pt x="407332" y="295737"/>
                    <a:pt x="451737" y="312765"/>
                  </a:cubicBezTo>
                  <a:cubicBezTo>
                    <a:pt x="471436" y="320778"/>
                    <a:pt x="493806" y="323115"/>
                    <a:pt x="516844" y="321112"/>
                  </a:cubicBezTo>
                  <a:cubicBezTo>
                    <a:pt x="531868" y="320778"/>
                    <a:pt x="546559" y="319443"/>
                    <a:pt x="561250" y="316772"/>
                  </a:cubicBezTo>
                  <a:lnTo>
                    <a:pt x="561250" y="196575"/>
                  </a:lnTo>
                  <a:lnTo>
                    <a:pt x="493472" y="196575"/>
                  </a:lnTo>
                  <a:cubicBezTo>
                    <a:pt x="505826" y="200916"/>
                    <a:pt x="512169" y="211266"/>
                    <a:pt x="512169" y="226624"/>
                  </a:cubicBezTo>
                  <a:lnTo>
                    <a:pt x="512169" y="281714"/>
                  </a:lnTo>
                  <a:cubicBezTo>
                    <a:pt x="496811" y="286722"/>
                    <a:pt x="475777" y="281714"/>
                    <a:pt x="464091" y="266690"/>
                  </a:cubicBezTo>
                  <a:cubicBezTo>
                    <a:pt x="449400" y="247659"/>
                    <a:pt x="446729" y="193904"/>
                    <a:pt x="453073" y="157512"/>
                  </a:cubicBezTo>
                  <a:cubicBezTo>
                    <a:pt x="456412" y="139148"/>
                    <a:pt x="472104" y="118782"/>
                    <a:pt x="491135" y="113106"/>
                  </a:cubicBezTo>
                  <a:close/>
                  <a:moveTo>
                    <a:pt x="80799" y="212268"/>
                  </a:moveTo>
                  <a:cubicBezTo>
                    <a:pt x="62769" y="212268"/>
                    <a:pt x="55424" y="204588"/>
                    <a:pt x="55424" y="204588"/>
                  </a:cubicBezTo>
                  <a:lnTo>
                    <a:pt x="55424" y="116111"/>
                  </a:lnTo>
                  <a:cubicBezTo>
                    <a:pt x="55424" y="108431"/>
                    <a:pt x="60766" y="103423"/>
                    <a:pt x="69113" y="102422"/>
                  </a:cubicBezTo>
                  <a:cubicBezTo>
                    <a:pt x="77794" y="101420"/>
                    <a:pt x="117859" y="95076"/>
                    <a:pt x="117859" y="154173"/>
                  </a:cubicBezTo>
                  <a:cubicBezTo>
                    <a:pt x="117525" y="209597"/>
                    <a:pt x="93152" y="212268"/>
                    <a:pt x="80799" y="212268"/>
                  </a:cubicBezTo>
                  <a:close/>
                  <a:moveTo>
                    <a:pt x="280792" y="221282"/>
                  </a:moveTo>
                  <a:cubicBezTo>
                    <a:pt x="253748" y="221282"/>
                    <a:pt x="236052" y="208595"/>
                    <a:pt x="236052" y="208595"/>
                  </a:cubicBezTo>
                  <a:lnTo>
                    <a:pt x="236052" y="62022"/>
                  </a:lnTo>
                  <a:cubicBezTo>
                    <a:pt x="236052" y="49669"/>
                    <a:pt x="250409" y="41322"/>
                    <a:pt x="262762" y="39986"/>
                  </a:cubicBezTo>
                  <a:cubicBezTo>
                    <a:pt x="276117" y="38317"/>
                    <a:pt x="337217" y="28968"/>
                    <a:pt x="337217" y="125125"/>
                  </a:cubicBezTo>
                  <a:cubicBezTo>
                    <a:pt x="337217" y="211600"/>
                    <a:pt x="295816" y="221282"/>
                    <a:pt x="280792" y="221282"/>
                  </a:cubicBezTo>
                  <a:close/>
                </a:path>
              </a:pathLst>
            </a:custGeom>
            <a:solidFill>
              <a:srgbClr val="FFFFFF"/>
            </a:solidFill>
            <a:ln w="3303" cap="flat">
              <a:noFill/>
              <a:prstDash val="solid"/>
              <a:miter/>
            </a:ln>
          </p:spPr>
          <p:txBody>
            <a:bodyPr rtlCol="0" anchor="ctr"/>
            <a:lstStyle/>
            <a:p>
              <a:endParaRPr lang="en-US"/>
            </a:p>
          </p:txBody>
        </p:sp>
      </p:grpSp>
      <p:sp>
        <p:nvSpPr>
          <p:cNvPr id="5" name="Isosceles Triangle 4">
            <a:extLst>
              <a:ext uri="{FF2B5EF4-FFF2-40B4-BE49-F238E27FC236}">
                <a16:creationId xmlns:a16="http://schemas.microsoft.com/office/drawing/2014/main" id="{9D6B1B73-3F43-4F4D-8BF4-E838E1379745}"/>
              </a:ext>
            </a:extLst>
          </p:cNvPr>
          <p:cNvSpPr/>
          <p:nvPr/>
        </p:nvSpPr>
        <p:spPr>
          <a:xfrm flipV="1">
            <a:off x="3898382" y="4463134"/>
            <a:ext cx="514919" cy="977624"/>
          </a:xfrm>
          <a:prstGeom prst="triangle">
            <a:avLst>
              <a:gd name="adj" fmla="val 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494603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en-US"/>
              <a:t> </a:t>
            </a:r>
          </a:p>
        </p:txBody>
      </p:sp>
      <p:sp>
        <p:nvSpPr>
          <p:cNvPr id="5" name="TextBox 4"/>
          <p:cNvSpPr txBox="1"/>
          <p:nvPr/>
        </p:nvSpPr>
        <p:spPr>
          <a:xfrm>
            <a:off x="1220152" y="371525"/>
            <a:ext cx="9748521" cy="707518"/>
          </a:xfrm>
          <a:prstGeom prst="rect">
            <a:avLst/>
          </a:prstGeom>
          <a:solidFill>
            <a:schemeClr val="accent1"/>
          </a:solidFill>
        </p:spPr>
        <p:txBody>
          <a:bodyPr wrap="square" rtlCol="0">
            <a:spAutoFit/>
          </a:bodyPr>
          <a:lstStyle/>
          <a:p>
            <a:pPr algn="ctr"/>
            <a:r>
              <a:rPr lang="en-US" sz="3998" b="1">
                <a:solidFill>
                  <a:schemeClr val="bg1"/>
                </a:solidFill>
              </a:rPr>
              <a:t>Questions?</a:t>
            </a:r>
          </a:p>
        </p:txBody>
      </p:sp>
      <p:graphicFrame>
        <p:nvGraphicFramePr>
          <p:cNvPr id="8" name="Table 8">
            <a:extLst>
              <a:ext uri="{FF2B5EF4-FFF2-40B4-BE49-F238E27FC236}">
                <a16:creationId xmlns:a16="http://schemas.microsoft.com/office/drawing/2014/main" id="{7D1209EC-937B-4F19-A500-019E8EF9D50B}"/>
              </a:ext>
            </a:extLst>
          </p:cNvPr>
          <p:cNvGraphicFramePr>
            <a:graphicFrameLocks noGrp="1"/>
          </p:cNvGraphicFramePr>
          <p:nvPr>
            <p:extLst>
              <p:ext uri="{D42A27DB-BD31-4B8C-83A1-F6EECF244321}">
                <p14:modId xmlns:p14="http://schemas.microsoft.com/office/powerpoint/2010/main" val="459825253"/>
              </p:ext>
            </p:extLst>
          </p:nvPr>
        </p:nvGraphicFramePr>
        <p:xfrm>
          <a:off x="1220152" y="1225172"/>
          <a:ext cx="9748521" cy="4215413"/>
        </p:xfrm>
        <a:graphic>
          <a:graphicData uri="http://schemas.openxmlformats.org/drawingml/2006/table">
            <a:tbl>
              <a:tblPr bandRow="1">
                <a:tableStyleId>{5C22544A-7EE6-4342-B048-85BDC9FD1C3A}</a:tableStyleId>
              </a:tblPr>
              <a:tblGrid>
                <a:gridCol w="6005407">
                  <a:extLst>
                    <a:ext uri="{9D8B030D-6E8A-4147-A177-3AD203B41FA5}">
                      <a16:colId xmlns:a16="http://schemas.microsoft.com/office/drawing/2014/main" val="876541500"/>
                    </a:ext>
                  </a:extLst>
                </a:gridCol>
                <a:gridCol w="3743114">
                  <a:extLst>
                    <a:ext uri="{9D8B030D-6E8A-4147-A177-3AD203B41FA5}">
                      <a16:colId xmlns:a16="http://schemas.microsoft.com/office/drawing/2014/main" val="784656777"/>
                    </a:ext>
                  </a:extLst>
                </a:gridCol>
              </a:tblGrid>
              <a:tr h="944610">
                <a:tc>
                  <a:txBody>
                    <a:bodyPr/>
                    <a:lstStyle/>
                    <a:p>
                      <a:r>
                        <a:rPr lang="en-US" sz="2400" b="1">
                          <a:solidFill>
                            <a:schemeClr val="accent1"/>
                          </a:solidFill>
                        </a:rPr>
                        <a:t>Jim Gibian</a:t>
                      </a:r>
                      <a:br>
                        <a:rPr lang="en-US" sz="1800"/>
                      </a:br>
                      <a:r>
                        <a:rPr lang="en-US" sz="1600" b="0" i="0" u="none" strike="noStrike" noProof="0"/>
                        <a:t>Senior Business Development Manager and Global Key Account Manager USCA</a:t>
                      </a:r>
                      <a:endParaRPr lang="en-US" sz="1600" b="0"/>
                    </a:p>
                  </a:txBody>
                  <a:tcPr marL="548354"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457207" rtl="0" eaLnBrk="1" fontAlgn="auto" latinLnBrk="0" hangingPunct="1">
                        <a:lnSpc>
                          <a:spcPct val="100000"/>
                        </a:lnSpc>
                        <a:spcBef>
                          <a:spcPts val="0"/>
                        </a:spcBef>
                        <a:spcAft>
                          <a:spcPts val="0"/>
                        </a:spcAft>
                        <a:buClrTx/>
                        <a:buSzTx/>
                        <a:buFontTx/>
                        <a:buNone/>
                        <a:tabLst/>
                        <a:defRPr/>
                      </a:pPr>
                      <a:r>
                        <a:rPr lang="en-US" sz="1800"/>
                        <a:t>jgibian@ppg.com</a:t>
                      </a:r>
                    </a:p>
                  </a:txBody>
                  <a:tcPr marL="91392"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201626"/>
                  </a:ext>
                </a:extLst>
              </a:tr>
              <a:tr h="944610">
                <a:tc>
                  <a:txBody>
                    <a:bodyPr/>
                    <a:lstStyle/>
                    <a:p>
                      <a:r>
                        <a:rPr lang="en-US" sz="2400" b="1" kern="1200">
                          <a:solidFill>
                            <a:schemeClr val="accent1"/>
                          </a:solidFill>
                          <a:latin typeface="+mn-lt"/>
                          <a:ea typeface="+mn-ea"/>
                          <a:cs typeface="+mn-cs"/>
                        </a:rPr>
                        <a:t>Suzie Eberhardt</a:t>
                      </a:r>
                    </a:p>
                    <a:p>
                      <a:pPr lvl="0">
                        <a:buNone/>
                      </a:pPr>
                      <a:r>
                        <a:rPr lang="en-US" sz="1600" b="0" i="0" u="none" strike="noStrike" kern="1200" noProof="0">
                          <a:solidFill>
                            <a:schemeClr val="dk1"/>
                          </a:solidFill>
                        </a:rPr>
                        <a:t>USCA Sales Manager, Kitchenware and Industrial Bakeware </a:t>
                      </a:r>
                      <a:endParaRPr lang="en-US" sz="1800" b="0"/>
                    </a:p>
                  </a:txBody>
                  <a:tcPr marL="548354"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457207" rtl="0" eaLnBrk="1" fontAlgn="auto" latinLnBrk="0" hangingPunct="1">
                        <a:lnSpc>
                          <a:spcPct val="100000"/>
                        </a:lnSpc>
                        <a:spcBef>
                          <a:spcPts val="0"/>
                        </a:spcBef>
                        <a:spcAft>
                          <a:spcPts val="0"/>
                        </a:spcAft>
                        <a:buClrTx/>
                        <a:buSzTx/>
                        <a:buFontTx/>
                        <a:buNone/>
                        <a:tabLst/>
                        <a:defRPr/>
                      </a:pPr>
                      <a:r>
                        <a:rPr lang="en-US" sz="1800"/>
                        <a:t>seberhardt@ppg.com</a:t>
                      </a:r>
                    </a:p>
                  </a:txBody>
                  <a:tcPr marL="91392"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0007007"/>
                  </a:ext>
                </a:extLst>
              </a:tr>
              <a:tr h="775250">
                <a:tc>
                  <a:txBody>
                    <a:bodyPr/>
                    <a:lstStyle/>
                    <a:p>
                      <a:pPr marL="0" algn="l" defTabSz="457207" rtl="0" eaLnBrk="1" latinLnBrk="0" hangingPunct="1"/>
                      <a:r>
                        <a:rPr lang="en-US" sz="2400" b="1" kern="1200">
                          <a:solidFill>
                            <a:schemeClr val="accent1"/>
                          </a:solidFill>
                          <a:latin typeface="+mn-lt"/>
                          <a:ea typeface="+mn-ea"/>
                          <a:cs typeface="+mn-cs"/>
                        </a:rPr>
                        <a:t>Kurt </a:t>
                      </a:r>
                      <a:r>
                        <a:rPr lang="en-US" sz="2400" b="1" kern="1200" err="1">
                          <a:solidFill>
                            <a:schemeClr val="accent1"/>
                          </a:solidFill>
                          <a:latin typeface="+mn-lt"/>
                          <a:ea typeface="+mn-ea"/>
                          <a:cs typeface="+mn-cs"/>
                        </a:rPr>
                        <a:t>Mecray</a:t>
                      </a:r>
                      <a:endParaRPr lang="en-US" sz="2400" b="1" kern="1200">
                        <a:solidFill>
                          <a:schemeClr val="accent1"/>
                        </a:solidFill>
                        <a:latin typeface="+mn-lt"/>
                        <a:ea typeface="+mn-ea"/>
                        <a:cs typeface="+mn-cs"/>
                      </a:endParaRPr>
                    </a:p>
                    <a:p>
                      <a:pPr marL="0" algn="l" defTabSz="457207" rtl="0" eaLnBrk="1" latinLnBrk="0" hangingPunct="1"/>
                      <a:r>
                        <a:rPr lang="en-US" sz="1600" kern="1200">
                          <a:solidFill>
                            <a:schemeClr val="dk1"/>
                          </a:solidFill>
                          <a:latin typeface="+mn-lt"/>
                          <a:ea typeface="+mn-ea"/>
                          <a:cs typeface="+mn-cs"/>
                        </a:rPr>
                        <a:t>Consumer Technical Marketing Manager </a:t>
                      </a:r>
                    </a:p>
                  </a:txBody>
                  <a:tcPr marL="548354"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457207" rtl="0" eaLnBrk="1" fontAlgn="auto" latinLnBrk="0" hangingPunct="1">
                        <a:lnSpc>
                          <a:spcPct val="100000"/>
                        </a:lnSpc>
                        <a:spcBef>
                          <a:spcPts val="0"/>
                        </a:spcBef>
                        <a:spcAft>
                          <a:spcPts val="0"/>
                        </a:spcAft>
                        <a:buClrTx/>
                        <a:buSzTx/>
                        <a:buFontTx/>
                        <a:buNone/>
                        <a:tabLst/>
                        <a:defRPr/>
                      </a:pPr>
                      <a:r>
                        <a:rPr lang="en-US" sz="1800"/>
                        <a:t>kmecray@ppg.com</a:t>
                      </a:r>
                    </a:p>
                  </a:txBody>
                  <a:tcPr marL="91392"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8160638"/>
                  </a:ext>
                </a:extLst>
              </a:tr>
              <a:tr h="775250">
                <a:tc>
                  <a:txBody>
                    <a:bodyPr/>
                    <a:lstStyle/>
                    <a:p>
                      <a:pPr marL="0" algn="l" defTabSz="457207" rtl="0" eaLnBrk="1" latinLnBrk="0" hangingPunct="1"/>
                      <a:r>
                        <a:rPr lang="en-US" sz="2400" b="1" kern="1200">
                          <a:solidFill>
                            <a:schemeClr val="accent1"/>
                          </a:solidFill>
                          <a:latin typeface="+mn-lt"/>
                          <a:ea typeface="+mn-ea"/>
                          <a:cs typeface="+mn-cs"/>
                        </a:rPr>
                        <a:t>Don</a:t>
                      </a:r>
                      <a:r>
                        <a:rPr lang="en-US" sz="2400" b="1" kern="1200" baseline="0">
                          <a:solidFill>
                            <a:schemeClr val="accent1"/>
                          </a:solidFill>
                          <a:latin typeface="+mn-lt"/>
                          <a:ea typeface="+mn-ea"/>
                          <a:cs typeface="+mn-cs"/>
                        </a:rPr>
                        <a:t> Poitras</a:t>
                      </a:r>
                      <a:endParaRPr lang="en-US" sz="2400" b="1" kern="1200">
                        <a:solidFill>
                          <a:schemeClr val="accent1"/>
                        </a:solidFill>
                        <a:latin typeface="+mn-lt"/>
                        <a:ea typeface="+mn-ea"/>
                        <a:cs typeface="+mn-cs"/>
                      </a:endParaRPr>
                    </a:p>
                    <a:p>
                      <a:pPr marL="0" lvl="0" algn="l">
                        <a:buNone/>
                      </a:pPr>
                      <a:r>
                        <a:rPr lang="en-US" sz="1600" b="0" i="0" u="none" strike="noStrike" kern="1200" baseline="0" noProof="0">
                          <a:solidFill>
                            <a:schemeClr val="dk1"/>
                          </a:solidFill>
                          <a:latin typeface="Arial"/>
                        </a:rPr>
                        <a:t>Global Strategic Account Manager</a:t>
                      </a:r>
                      <a:endParaRPr lang="en-US" sz="1800"/>
                    </a:p>
                  </a:txBody>
                  <a:tcPr marL="548354"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457207" rtl="0" eaLnBrk="1" fontAlgn="auto" latinLnBrk="0" hangingPunct="1">
                        <a:lnSpc>
                          <a:spcPct val="100000"/>
                        </a:lnSpc>
                        <a:spcBef>
                          <a:spcPts val="0"/>
                        </a:spcBef>
                        <a:spcAft>
                          <a:spcPts val="0"/>
                        </a:spcAft>
                        <a:buClrTx/>
                        <a:buSzTx/>
                        <a:buFontTx/>
                        <a:buNone/>
                        <a:tabLst/>
                        <a:defRPr/>
                      </a:pPr>
                      <a:r>
                        <a:rPr lang="en-US" sz="1800"/>
                        <a:t>dpoitras@ppg.com</a:t>
                      </a:r>
                    </a:p>
                  </a:txBody>
                  <a:tcPr marL="91392"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392114"/>
                  </a:ext>
                </a:extLst>
              </a:tr>
              <a:tr h="775249">
                <a:tc>
                  <a:txBody>
                    <a:bodyPr/>
                    <a:lstStyle/>
                    <a:p>
                      <a:pPr lvl="0">
                        <a:buNone/>
                      </a:pPr>
                      <a:r>
                        <a:rPr lang="en-US" sz="2400" b="1" kern="1200">
                          <a:solidFill>
                            <a:schemeClr val="accent1"/>
                          </a:solidFill>
                          <a:latin typeface="+mn-lt"/>
                          <a:ea typeface="+mn-ea"/>
                          <a:cs typeface="+mn-cs"/>
                        </a:rPr>
                        <a:t>Genna Niemiec Deane</a:t>
                      </a:r>
                      <a:br>
                        <a:rPr lang="en-US" sz="1800"/>
                      </a:br>
                      <a:r>
                        <a:rPr lang="en-US" sz="1600" kern="1200">
                          <a:solidFill>
                            <a:schemeClr val="dk1"/>
                          </a:solidFill>
                          <a:latin typeface="+mn-lt"/>
                          <a:ea typeface="+mn-ea"/>
                          <a:cs typeface="+mn-cs"/>
                        </a:rPr>
                        <a:t>Marketing Communications Partner</a:t>
                      </a:r>
                      <a:endParaRPr lang="en-US" sz="1600" kern="1200">
                        <a:solidFill>
                          <a:schemeClr val="dk1"/>
                        </a:solidFill>
                        <a:highlight>
                          <a:srgbClr val="FFFF00"/>
                        </a:highlight>
                        <a:latin typeface="+mn-lt"/>
                        <a:ea typeface="+mn-ea"/>
                        <a:cs typeface="+mn-cs"/>
                      </a:endParaRPr>
                    </a:p>
                  </a:txBody>
                  <a:tcPr marL="548354" marR="91392" marT="45696" marB="45696" anchor="ctr">
                    <a:lnL w="0">
                      <a:noFill/>
                    </a:lnL>
                    <a:lnR w="0">
                      <a:noFill/>
                    </a:lnR>
                    <a:lnT w="12700" cmpd="sng">
                      <a:noFill/>
                    </a:lnT>
                    <a:lnB w="0">
                      <a:noFill/>
                    </a:lnB>
                    <a:lnTlToBr w="0">
                      <a:noFill/>
                    </a:lnTlToBr>
                    <a:lnBlToTr w="0">
                      <a:noFill/>
                    </a:lnBlToTr>
                    <a:solidFill>
                      <a:schemeClr val="bg1">
                        <a:lumMod val="95000"/>
                      </a:schemeClr>
                    </a:solidFill>
                  </a:tcPr>
                </a:tc>
                <a:tc>
                  <a:txBody>
                    <a:bodyPr/>
                    <a:lstStyle/>
                    <a:p>
                      <a:pPr marL="0" marR="0" lvl="0" indent="0" algn="l" defTabSz="457207" rtl="0">
                        <a:lnSpc>
                          <a:spcPct val="100000"/>
                        </a:lnSpc>
                        <a:spcBef>
                          <a:spcPts val="0"/>
                        </a:spcBef>
                        <a:spcAft>
                          <a:spcPts val="0"/>
                        </a:spcAft>
                        <a:buClrTx/>
                        <a:buSzTx/>
                        <a:buFontTx/>
                        <a:buNone/>
                        <a:tabLst/>
                        <a:defRPr/>
                      </a:pPr>
                      <a:r>
                        <a:rPr lang="en-US" sz="1800"/>
                        <a:t>gniemiec@ppg.com</a:t>
                      </a:r>
                    </a:p>
                  </a:txBody>
                  <a:tcPr marL="91392" marR="91392" marT="45696" marB="45696" anchor="ctr">
                    <a:lnL w="0">
                      <a:noFill/>
                    </a:lnL>
                    <a:lnR w="0">
                      <a:noFill/>
                    </a:lnR>
                    <a:lnT w="12700" cmpd="sng">
                      <a:noFill/>
                    </a:lnT>
                    <a:lnB w="0">
                      <a:noFill/>
                    </a:lnB>
                    <a:lnTlToBr w="0">
                      <a:noFill/>
                    </a:lnTlToBr>
                    <a:lnBlToTr w="0">
                      <a:noFill/>
                    </a:lnBlToTr>
                    <a:solidFill>
                      <a:schemeClr val="bg1">
                        <a:lumMod val="95000"/>
                      </a:schemeClr>
                    </a:solidFill>
                  </a:tcPr>
                </a:tc>
                <a:extLst>
                  <a:ext uri="{0D108BD9-81ED-4DB2-BD59-A6C34878D82A}">
                    <a16:rowId xmlns:a16="http://schemas.microsoft.com/office/drawing/2014/main" val="1880382105"/>
                  </a:ext>
                </a:extLst>
              </a:tr>
            </a:tbl>
          </a:graphicData>
        </a:graphic>
      </p:graphicFrame>
      <p:sp>
        <p:nvSpPr>
          <p:cNvPr id="2" name="Slide Number Placeholder 1">
            <a:extLst>
              <a:ext uri="{FF2B5EF4-FFF2-40B4-BE49-F238E27FC236}">
                <a16:creationId xmlns:a16="http://schemas.microsoft.com/office/drawing/2014/main" id="{0E44283B-8149-4FE2-9494-43E90AA47985}"/>
              </a:ext>
            </a:extLst>
          </p:cNvPr>
          <p:cNvSpPr>
            <a:spLocks noGrp="1"/>
          </p:cNvSpPr>
          <p:nvPr>
            <p:ph type="sldNum" sz="quarter" idx="12"/>
          </p:nvPr>
        </p:nvSpPr>
        <p:spPr/>
        <p:txBody>
          <a:bodyPr/>
          <a:lstStyle/>
          <a:p>
            <a:pPr>
              <a:defRPr/>
            </a:pPr>
            <a:fld id="{8C602143-C257-4223-9762-B5D01CB7EE1C}" type="slidenum">
              <a:rPr lang="en-US" altLang="en-US" smtClean="0"/>
              <a:pPr>
                <a:defRPr/>
              </a:pPr>
              <a:t>36</a:t>
            </a:fld>
            <a:endParaRPr lang="en-US" altLang="en-US"/>
          </a:p>
        </p:txBody>
      </p:sp>
    </p:spTree>
    <p:extLst>
      <p:ext uri="{BB962C8B-B14F-4D97-AF65-F5344CB8AC3E}">
        <p14:creationId xmlns:p14="http://schemas.microsoft.com/office/powerpoint/2010/main" val="2494927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60A31B3-49F0-4D14-AF17-0B65F0C9D1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2510" y="702905"/>
            <a:ext cx="11063807" cy="5452193"/>
          </a:xfrm>
          <a:prstGeom prst="rect">
            <a:avLst/>
          </a:prstGeom>
        </p:spPr>
      </p:pic>
    </p:spTree>
    <p:extLst>
      <p:ext uri="{BB962C8B-B14F-4D97-AF65-F5344CB8AC3E}">
        <p14:creationId xmlns:p14="http://schemas.microsoft.com/office/powerpoint/2010/main" val="14528935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0F9939C-5AF2-4DB5-8A1C-AFA6340C7DCB}"/>
              </a:ext>
            </a:extLst>
          </p:cNvPr>
          <p:cNvSpPr/>
          <p:nvPr/>
        </p:nvSpPr>
        <p:spPr>
          <a:xfrm>
            <a:off x="1149506" y="937656"/>
            <a:ext cx="10025475" cy="291357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8"/>
          </a:p>
        </p:txBody>
      </p:sp>
      <p:sp>
        <p:nvSpPr>
          <p:cNvPr id="2" name="Slide Number Placeholder 1"/>
          <p:cNvSpPr>
            <a:spLocks noGrp="1"/>
          </p:cNvSpPr>
          <p:nvPr>
            <p:ph type="sldNum" sz="quarter" idx="11"/>
          </p:nvPr>
        </p:nvSpPr>
        <p:spPr/>
        <p:txBody>
          <a:bodyPr/>
          <a:lstStyle/>
          <a:p>
            <a:fld id="{FD9C4343-C115-504A-8D4F-0B17318D4A48}" type="slidenum">
              <a:rPr lang="en-US" smtClean="0"/>
              <a:pPr/>
              <a:t>4</a:t>
            </a:fld>
            <a:endParaRPr lang="en-US"/>
          </a:p>
        </p:txBody>
      </p:sp>
      <p:sp>
        <p:nvSpPr>
          <p:cNvPr id="4" name="Title 3"/>
          <p:cNvSpPr>
            <a:spLocks noGrp="1"/>
          </p:cNvSpPr>
          <p:nvPr>
            <p:ph type="title"/>
          </p:nvPr>
        </p:nvSpPr>
        <p:spPr/>
        <p:txBody>
          <a:bodyPr/>
          <a:lstStyle/>
          <a:p>
            <a:r>
              <a:rPr lang="en-US"/>
              <a:t>PKU Panel</a:t>
            </a:r>
          </a:p>
        </p:txBody>
      </p:sp>
      <p:sp>
        <p:nvSpPr>
          <p:cNvPr id="23" name="TextBox 22">
            <a:extLst>
              <a:ext uri="{FF2B5EF4-FFF2-40B4-BE49-F238E27FC236}">
                <a16:creationId xmlns:a16="http://schemas.microsoft.com/office/drawing/2014/main" id="{689BF6A7-8EF5-4514-A3AA-769FEC9AB02D}"/>
              </a:ext>
            </a:extLst>
          </p:cNvPr>
          <p:cNvSpPr txBox="1"/>
          <p:nvPr/>
        </p:nvSpPr>
        <p:spPr>
          <a:xfrm>
            <a:off x="2633359" y="4254615"/>
            <a:ext cx="1813117" cy="2107721"/>
          </a:xfrm>
          <a:prstGeom prst="rect">
            <a:avLst/>
          </a:prstGeom>
          <a:noFill/>
        </p:spPr>
        <p:txBody>
          <a:bodyPr wrap="square" lIns="91416" tIns="45708" rIns="91416" bIns="45708" anchor="t">
            <a:spAutoFit/>
          </a:bodyPr>
          <a:lstStyle/>
          <a:p>
            <a:pPr algn="ctr">
              <a:spcBef>
                <a:spcPts val="600"/>
              </a:spcBef>
            </a:pPr>
            <a:r>
              <a:rPr lang="en-US" sz="1799" b="1">
                <a:solidFill>
                  <a:schemeClr val="accent1"/>
                </a:solidFill>
              </a:rPr>
              <a:t>Suzie Eberhardt</a:t>
            </a:r>
          </a:p>
          <a:p>
            <a:pPr algn="ctr">
              <a:spcBef>
                <a:spcPts val="600"/>
              </a:spcBef>
            </a:pPr>
            <a:r>
              <a:rPr lang="en-US" sz="1799">
                <a:solidFill>
                  <a:srgbClr val="323130"/>
                </a:solidFill>
                <a:latin typeface="Arial"/>
                <a:cs typeface="Segoe UI"/>
              </a:rPr>
              <a:t>USCA Sales Manager, Kitchenware and Industrial Bakeware</a:t>
            </a:r>
            <a:endParaRPr lang="en-US" sz="1799">
              <a:latin typeface="Arial"/>
              <a:cs typeface="Arial"/>
            </a:endParaRPr>
          </a:p>
        </p:txBody>
      </p:sp>
      <p:sp>
        <p:nvSpPr>
          <p:cNvPr id="22" name="TextBox 21">
            <a:extLst>
              <a:ext uri="{FF2B5EF4-FFF2-40B4-BE49-F238E27FC236}">
                <a16:creationId xmlns:a16="http://schemas.microsoft.com/office/drawing/2014/main" id="{4768F1BB-64BD-4ABB-8C63-D5B72994DAAC}"/>
              </a:ext>
            </a:extLst>
          </p:cNvPr>
          <p:cNvSpPr txBox="1"/>
          <p:nvPr/>
        </p:nvSpPr>
        <p:spPr>
          <a:xfrm>
            <a:off x="231753" y="4252976"/>
            <a:ext cx="1927911" cy="2107592"/>
          </a:xfrm>
          <a:prstGeom prst="rect">
            <a:avLst/>
          </a:prstGeom>
          <a:noFill/>
        </p:spPr>
        <p:txBody>
          <a:bodyPr wrap="square" lIns="91416" tIns="45708" rIns="91416" bIns="45708" anchor="t">
            <a:spAutoFit/>
          </a:bodyPr>
          <a:lstStyle/>
          <a:p>
            <a:pPr algn="ctr">
              <a:spcBef>
                <a:spcPts val="600"/>
              </a:spcBef>
            </a:pPr>
            <a:r>
              <a:rPr lang="en-US" sz="1749" b="1">
                <a:solidFill>
                  <a:schemeClr val="accent1"/>
                </a:solidFill>
              </a:rPr>
              <a:t>Jim Gibian</a:t>
            </a:r>
          </a:p>
          <a:p>
            <a:pPr algn="ctr">
              <a:spcBef>
                <a:spcPts val="600"/>
              </a:spcBef>
            </a:pPr>
            <a:r>
              <a:rPr lang="en-US" sz="1799">
                <a:solidFill>
                  <a:srgbClr val="323130"/>
                </a:solidFill>
                <a:latin typeface="Arial"/>
                <a:cs typeface="Segoe UI"/>
              </a:rPr>
              <a:t>Senior Business Development Manager and Global Key Account Manager USCA</a:t>
            </a:r>
            <a:endParaRPr lang="en-US" sz="1799">
              <a:latin typeface="Arial"/>
              <a:cs typeface="Arial"/>
            </a:endParaRPr>
          </a:p>
        </p:txBody>
      </p:sp>
      <p:pic>
        <p:nvPicPr>
          <p:cNvPr id="18" name="Picture 17" descr="C:\Users\l341568\AppData\Local\Microsoft\Windows\INetCache\Content.Outlook\JH8D1LM8\Suzie and Frypan.JPG"/>
          <p:cNvPicPr/>
          <p:nvPr/>
        </p:nvPicPr>
        <p:blipFill rotWithShape="1">
          <a:blip r:embed="rId2" cstate="print">
            <a:extLst>
              <a:ext uri="{28A0092B-C50C-407E-A947-70E740481C1C}">
                <a14:useLocalDpi xmlns:a14="http://schemas.microsoft.com/office/drawing/2010/main" val="0"/>
              </a:ext>
            </a:extLst>
          </a:blip>
          <a:srcRect t="3440" r="28571" b="16886"/>
          <a:stretch>
            <a:fillRect/>
          </a:stretch>
        </p:blipFill>
        <p:spPr bwMode="auto">
          <a:xfrm>
            <a:off x="2633357" y="1629220"/>
            <a:ext cx="2140488" cy="2411164"/>
          </a:xfrm>
          <a:prstGeom prst="rect">
            <a:avLst/>
          </a:prstGeom>
          <a:noFill/>
          <a:ln>
            <a:noFill/>
          </a:ln>
        </p:spPr>
      </p:pic>
      <p:pic>
        <p:nvPicPr>
          <p:cNvPr id="1026" name="Picture 2" descr="c34684e1-e94b-4af5-a3ac-fd2319b3f5f4@namprd17"/>
          <p:cNvPicPr>
            <a:picLocks noChangeAspect="1" noChangeArrowheads="1"/>
          </p:cNvPicPr>
          <p:nvPr/>
        </p:nvPicPr>
        <p:blipFill rotWithShape="1">
          <a:blip r:embed="rId3">
            <a:extLst>
              <a:ext uri="{28A0092B-C50C-407E-A947-70E740481C1C}">
                <a14:useLocalDpi xmlns:a14="http://schemas.microsoft.com/office/drawing/2010/main" val="0"/>
              </a:ext>
            </a:extLst>
          </a:blip>
          <a:srcRect b="2616"/>
          <a:stretch/>
        </p:blipFill>
        <p:spPr bwMode="auto">
          <a:xfrm>
            <a:off x="358186" y="1609173"/>
            <a:ext cx="1801478" cy="242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C14C053C-E32C-FC5E-7315-F6D01F23CB43}"/>
              </a:ext>
            </a:extLst>
          </p:cNvPr>
          <p:cNvSpPr txBox="1"/>
          <p:nvPr/>
        </p:nvSpPr>
        <p:spPr>
          <a:xfrm>
            <a:off x="7735507" y="4312653"/>
            <a:ext cx="1323179" cy="1830794"/>
          </a:xfrm>
          <a:prstGeom prst="rect">
            <a:avLst/>
          </a:prstGeom>
          <a:noFill/>
        </p:spPr>
        <p:txBody>
          <a:bodyPr wrap="square" lIns="91416" tIns="45708" rIns="91416" bIns="45708" anchor="t">
            <a:spAutoFit/>
          </a:bodyPr>
          <a:lstStyle/>
          <a:p>
            <a:pPr algn="ctr">
              <a:spcBef>
                <a:spcPts val="600"/>
              </a:spcBef>
            </a:pPr>
            <a:r>
              <a:rPr lang="en-US" sz="1799" b="1">
                <a:solidFill>
                  <a:schemeClr val="accent1"/>
                </a:solidFill>
              </a:rPr>
              <a:t>Kurt </a:t>
            </a:r>
            <a:r>
              <a:rPr lang="en-US" sz="1799" b="1" err="1">
                <a:solidFill>
                  <a:schemeClr val="accent1"/>
                </a:solidFill>
              </a:rPr>
              <a:t>Mecray</a:t>
            </a:r>
            <a:endParaRPr lang="en-US" sz="1799" b="1">
              <a:solidFill>
                <a:schemeClr val="accent1"/>
              </a:solidFill>
              <a:cs typeface="Arial"/>
            </a:endParaRPr>
          </a:p>
          <a:p>
            <a:pPr algn="ctr">
              <a:spcBef>
                <a:spcPts val="600"/>
              </a:spcBef>
            </a:pPr>
            <a:r>
              <a:rPr lang="en-US" sz="1799"/>
              <a:t>Consumer Technical Marketing  Manager</a:t>
            </a:r>
          </a:p>
        </p:txBody>
      </p:sp>
      <p:pic>
        <p:nvPicPr>
          <p:cNvPr id="16" name="Picture 15" descr="A picture containing indoor&#10;&#10;Description automatically generated">
            <a:extLst>
              <a:ext uri="{FF2B5EF4-FFF2-40B4-BE49-F238E27FC236}">
                <a16:creationId xmlns:a16="http://schemas.microsoft.com/office/drawing/2014/main" id="{B04C4436-3A3E-D51C-8A4A-B3BCD3D6A4DD}"/>
              </a:ext>
            </a:extLst>
          </p:cNvPr>
          <p:cNvPicPr>
            <a:picLocks noChangeAspect="1"/>
          </p:cNvPicPr>
          <p:nvPr/>
        </p:nvPicPr>
        <p:blipFill>
          <a:blip r:embed="rId4"/>
          <a:srcRect t="-1206" r="13207" b="-2272"/>
          <a:stretch>
            <a:fillRect/>
          </a:stretch>
        </p:blipFill>
        <p:spPr>
          <a:xfrm rot="5400000">
            <a:off x="7316870" y="1742363"/>
            <a:ext cx="2399578" cy="2142970"/>
          </a:xfrm>
          <a:prstGeom prst="rect">
            <a:avLst/>
          </a:prstGeom>
        </p:spPr>
      </p:pic>
      <p:pic>
        <p:nvPicPr>
          <p:cNvPr id="6" name="Picture 5" descr="A person smiling at the camera&#10;&#10;Description automatically generated">
            <a:extLst>
              <a:ext uri="{FF2B5EF4-FFF2-40B4-BE49-F238E27FC236}">
                <a16:creationId xmlns:a16="http://schemas.microsoft.com/office/drawing/2014/main" id="{6A1371AA-749C-26FB-6B4C-DA1B2E3BEBE5}"/>
              </a:ext>
            </a:extLst>
          </p:cNvPr>
          <p:cNvPicPr>
            <a:picLocks noChangeAspect="1"/>
          </p:cNvPicPr>
          <p:nvPr/>
        </p:nvPicPr>
        <p:blipFill rotWithShape="1">
          <a:blip r:embed="rId5">
            <a:extLst>
              <a:ext uri="{28A0092B-C50C-407E-A947-70E740481C1C}">
                <a14:useLocalDpi xmlns:a14="http://schemas.microsoft.com/office/drawing/2010/main" val="0"/>
              </a:ext>
            </a:extLst>
          </a:blip>
          <a:srcRect l="159" t="23205" r="19068" b="4037"/>
          <a:stretch>
            <a:fillRect/>
          </a:stretch>
        </p:blipFill>
        <p:spPr>
          <a:xfrm>
            <a:off x="5099292" y="1620902"/>
            <a:ext cx="1991961" cy="2415715"/>
          </a:xfrm>
          <a:prstGeom prst="rect">
            <a:avLst/>
          </a:prstGeom>
        </p:spPr>
      </p:pic>
      <p:sp>
        <p:nvSpPr>
          <p:cNvPr id="10" name="TextBox 9">
            <a:extLst>
              <a:ext uri="{FF2B5EF4-FFF2-40B4-BE49-F238E27FC236}">
                <a16:creationId xmlns:a16="http://schemas.microsoft.com/office/drawing/2014/main" id="{3E8DD690-797D-4688-6932-755B273FB8B3}"/>
              </a:ext>
            </a:extLst>
          </p:cNvPr>
          <p:cNvSpPr txBox="1"/>
          <p:nvPr/>
        </p:nvSpPr>
        <p:spPr>
          <a:xfrm>
            <a:off x="4943569" y="4311762"/>
            <a:ext cx="2053787" cy="1000014"/>
          </a:xfrm>
          <a:prstGeom prst="rect">
            <a:avLst/>
          </a:prstGeom>
          <a:noFill/>
        </p:spPr>
        <p:txBody>
          <a:bodyPr wrap="square" lIns="91416" tIns="45708" rIns="91416" bIns="45708" anchor="t">
            <a:spAutoFit/>
          </a:bodyPr>
          <a:lstStyle/>
          <a:p>
            <a:pPr algn="ctr">
              <a:spcBef>
                <a:spcPts val="600"/>
              </a:spcBef>
            </a:pPr>
            <a:r>
              <a:rPr lang="en-US" sz="1799" b="1">
                <a:solidFill>
                  <a:schemeClr val="accent1"/>
                </a:solidFill>
              </a:rPr>
              <a:t>Don Poitras</a:t>
            </a:r>
          </a:p>
          <a:p>
            <a:pPr algn="ctr">
              <a:spcBef>
                <a:spcPts val="600"/>
              </a:spcBef>
            </a:pPr>
            <a:r>
              <a:rPr lang="en-US" sz="1799"/>
              <a:t>Global Strategic Account Manager </a:t>
            </a:r>
            <a:endParaRPr lang="en-US" sz="1799">
              <a:cs typeface="Arial"/>
            </a:endParaRPr>
          </a:p>
        </p:txBody>
      </p:sp>
      <p:pic>
        <p:nvPicPr>
          <p:cNvPr id="5" name="Picture 10" descr="A person smiling at camera&#10;&#10;AI-generated content may be incorrect.">
            <a:extLst>
              <a:ext uri="{FF2B5EF4-FFF2-40B4-BE49-F238E27FC236}">
                <a16:creationId xmlns:a16="http://schemas.microsoft.com/office/drawing/2014/main" id="{E2B5710A-3C01-C09A-B947-8F8DA6947D16}"/>
              </a:ext>
            </a:extLst>
          </p:cNvPr>
          <p:cNvPicPr>
            <a:picLocks noChangeAspect="1"/>
          </p:cNvPicPr>
          <p:nvPr/>
        </p:nvPicPr>
        <p:blipFill rotWithShape="1">
          <a:blip r:embed="rId6"/>
          <a:srcRect l="18666" r="18666"/>
          <a:stretch/>
        </p:blipFill>
        <p:spPr>
          <a:xfrm>
            <a:off x="9963284" y="1576053"/>
            <a:ext cx="1997112" cy="2427138"/>
          </a:xfrm>
          <a:prstGeom prst="rect">
            <a:avLst/>
          </a:prstGeom>
        </p:spPr>
      </p:pic>
      <p:sp>
        <p:nvSpPr>
          <p:cNvPr id="15" name="TextBox 14">
            <a:extLst>
              <a:ext uri="{FF2B5EF4-FFF2-40B4-BE49-F238E27FC236}">
                <a16:creationId xmlns:a16="http://schemas.microsoft.com/office/drawing/2014/main" id="{DF216A03-C970-D265-59C8-01214837072B}"/>
              </a:ext>
            </a:extLst>
          </p:cNvPr>
          <p:cNvSpPr txBox="1"/>
          <p:nvPr/>
        </p:nvSpPr>
        <p:spPr>
          <a:xfrm>
            <a:off x="9730656" y="4309240"/>
            <a:ext cx="2460777" cy="1553867"/>
          </a:xfrm>
          <a:prstGeom prst="rect">
            <a:avLst/>
          </a:prstGeom>
          <a:noFill/>
        </p:spPr>
        <p:txBody>
          <a:bodyPr wrap="square" lIns="91416" tIns="45708" rIns="91416" bIns="45708" anchor="t">
            <a:spAutoFit/>
          </a:bodyPr>
          <a:lstStyle/>
          <a:p>
            <a:pPr algn="ctr">
              <a:spcBef>
                <a:spcPts val="600"/>
              </a:spcBef>
            </a:pPr>
            <a:r>
              <a:rPr lang="en-US" sz="1799" b="1">
                <a:solidFill>
                  <a:schemeClr val="accent1"/>
                </a:solidFill>
              </a:rPr>
              <a:t>Genna Niemiec Deane</a:t>
            </a:r>
          </a:p>
          <a:p>
            <a:pPr algn="ctr">
              <a:spcBef>
                <a:spcPts val="600"/>
              </a:spcBef>
            </a:pPr>
            <a:r>
              <a:rPr lang="en-US" sz="1799"/>
              <a:t>Marketing Communications Partner</a:t>
            </a:r>
          </a:p>
        </p:txBody>
      </p:sp>
    </p:spTree>
    <p:extLst>
      <p:ext uri="{BB962C8B-B14F-4D97-AF65-F5344CB8AC3E}">
        <p14:creationId xmlns:p14="http://schemas.microsoft.com/office/powerpoint/2010/main" val="28760298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FD9C4343-C115-504A-8D4F-0B17318D4A48}" type="slidenum">
              <a:rPr lang="en-US" smtClean="0"/>
              <a:pPr/>
              <a:t>5</a:t>
            </a:fld>
            <a:endParaRPr lang="en-US"/>
          </a:p>
        </p:txBody>
      </p:sp>
      <p:sp>
        <p:nvSpPr>
          <p:cNvPr id="4" name="Content Placeholder 3"/>
          <p:cNvSpPr>
            <a:spLocks noGrp="1"/>
          </p:cNvSpPr>
          <p:nvPr>
            <p:ph idx="1"/>
          </p:nvPr>
        </p:nvSpPr>
        <p:spPr>
          <a:xfrm>
            <a:off x="349715" y="1183384"/>
            <a:ext cx="4341454" cy="1761801"/>
          </a:xfrm>
        </p:spPr>
        <p:txBody>
          <a:bodyPr>
            <a:noAutofit/>
          </a:bodyPr>
          <a:lstStyle/>
          <a:p>
            <a:pPr marL="0" indent="0">
              <a:lnSpc>
                <a:spcPct val="90000"/>
              </a:lnSpc>
              <a:spcBef>
                <a:spcPts val="600"/>
              </a:spcBef>
              <a:buNone/>
            </a:pPr>
            <a:r>
              <a:rPr lang="en-US"/>
              <a:t>There are three very critical aspects to ensure the coating will perform as designed:</a:t>
            </a:r>
          </a:p>
        </p:txBody>
      </p:sp>
      <p:sp>
        <p:nvSpPr>
          <p:cNvPr id="5" name="Title 4"/>
          <p:cNvSpPr>
            <a:spLocks noGrp="1"/>
          </p:cNvSpPr>
          <p:nvPr>
            <p:ph type="title"/>
          </p:nvPr>
        </p:nvSpPr>
        <p:spPr/>
        <p:txBody>
          <a:bodyPr/>
          <a:lstStyle/>
          <a:p>
            <a:r>
              <a:rPr lang="en-US"/>
              <a:t>The three keys to proper application</a:t>
            </a:r>
          </a:p>
        </p:txBody>
      </p:sp>
      <p:sp>
        <p:nvSpPr>
          <p:cNvPr id="7" name="TextBox 6">
            <a:extLst>
              <a:ext uri="{FF2B5EF4-FFF2-40B4-BE49-F238E27FC236}">
                <a16:creationId xmlns:a16="http://schemas.microsoft.com/office/drawing/2014/main" id="{D952437C-2909-4E26-9F1F-0375D65E2F99}"/>
              </a:ext>
            </a:extLst>
          </p:cNvPr>
          <p:cNvSpPr txBox="1"/>
          <p:nvPr/>
        </p:nvSpPr>
        <p:spPr>
          <a:xfrm>
            <a:off x="1" y="5636408"/>
            <a:ext cx="8154185" cy="369332"/>
          </a:xfrm>
          <a:prstGeom prst="rect">
            <a:avLst/>
          </a:prstGeom>
          <a:solidFill>
            <a:schemeClr val="accent1"/>
          </a:solidFill>
        </p:spPr>
        <p:txBody>
          <a:bodyPr wrap="square" lIns="365760">
            <a:spAutoFit/>
          </a:bodyPr>
          <a:lstStyle/>
          <a:p>
            <a:pPr marL="0" indent="0">
              <a:lnSpc>
                <a:spcPct val="90000"/>
              </a:lnSpc>
              <a:buNone/>
            </a:pPr>
            <a:r>
              <a:rPr lang="en-US" sz="2000">
                <a:solidFill>
                  <a:schemeClr val="bg2"/>
                </a:solidFill>
              </a:rPr>
              <a:t>All information is listed on the product data sheet provided by PPG</a:t>
            </a:r>
          </a:p>
        </p:txBody>
      </p:sp>
      <p:grpSp>
        <p:nvGrpSpPr>
          <p:cNvPr id="16" name="Group 15">
            <a:extLst>
              <a:ext uri="{FF2B5EF4-FFF2-40B4-BE49-F238E27FC236}">
                <a16:creationId xmlns:a16="http://schemas.microsoft.com/office/drawing/2014/main" id="{807372A8-45E5-4EAD-92CC-70D856B8D143}"/>
              </a:ext>
            </a:extLst>
          </p:cNvPr>
          <p:cNvGrpSpPr/>
          <p:nvPr/>
        </p:nvGrpSpPr>
        <p:grpSpPr>
          <a:xfrm>
            <a:off x="5758338" y="1643354"/>
            <a:ext cx="3373249" cy="3373220"/>
            <a:chOff x="6580706" y="1735325"/>
            <a:chExt cx="2757179" cy="2757157"/>
          </a:xfrm>
        </p:grpSpPr>
        <p:sp>
          <p:nvSpPr>
            <p:cNvPr id="13" name="Freeform: Shape 12">
              <a:extLst>
                <a:ext uri="{FF2B5EF4-FFF2-40B4-BE49-F238E27FC236}">
                  <a16:creationId xmlns:a16="http://schemas.microsoft.com/office/drawing/2014/main" id="{EBD990AA-912D-41B3-98C4-3258180461A9}"/>
                </a:ext>
              </a:extLst>
            </p:cNvPr>
            <p:cNvSpPr/>
            <p:nvPr/>
          </p:nvSpPr>
          <p:spPr>
            <a:xfrm>
              <a:off x="7270770" y="3113785"/>
              <a:ext cx="2066925" cy="1378697"/>
            </a:xfrm>
            <a:custGeom>
              <a:avLst/>
              <a:gdLst>
                <a:gd name="connsiteX0" fmla="*/ -244 w 2066925"/>
                <a:gd name="connsiteY0" fmla="*/ 1194306 h 1378697"/>
                <a:gd name="connsiteX1" fmla="*/ 1882649 w 2066925"/>
                <a:gd name="connsiteY1" fmla="*/ 687776 h 1378697"/>
                <a:gd name="connsiteX2" fmla="*/ 2066682 w 2066925"/>
                <a:gd name="connsiteY2" fmla="*/ -129 h 1378697"/>
                <a:gd name="connsiteX3" fmla="*/ 688414 w 2066925"/>
                <a:gd name="connsiteY3" fmla="*/ -129 h 1378697"/>
              </a:gdLst>
              <a:ahLst/>
              <a:cxnLst>
                <a:cxn ang="0">
                  <a:pos x="connsiteX0" y="connsiteY0"/>
                </a:cxn>
                <a:cxn ang="0">
                  <a:pos x="connsiteX1" y="connsiteY1"/>
                </a:cxn>
                <a:cxn ang="0">
                  <a:pos x="connsiteX2" y="connsiteY2"/>
                </a:cxn>
                <a:cxn ang="0">
                  <a:pos x="connsiteX3" y="connsiteY3"/>
                </a:cxn>
              </a:cxnLst>
              <a:rect l="l" t="t" r="r" b="b"/>
              <a:pathLst>
                <a:path w="2066925" h="1378697">
                  <a:moveTo>
                    <a:pt x="-244" y="1194306"/>
                  </a:moveTo>
                  <a:cubicBezTo>
                    <a:pt x="659582" y="1574382"/>
                    <a:pt x="1502583" y="1347592"/>
                    <a:pt x="1882649" y="687776"/>
                  </a:cubicBezTo>
                  <a:cubicBezTo>
                    <a:pt x="2003169" y="478540"/>
                    <a:pt x="2066634" y="241330"/>
                    <a:pt x="2066682" y="-129"/>
                  </a:cubicBezTo>
                  <a:lnTo>
                    <a:pt x="688414" y="-129"/>
                  </a:lnTo>
                  <a:close/>
                </a:path>
              </a:pathLst>
            </a:custGeom>
            <a:solidFill>
              <a:schemeClr val="accent4"/>
            </a:solidFill>
            <a:ln w="38100" cap="flat">
              <a:solidFill>
                <a:schemeClr val="bg1"/>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8A810F1-4948-4300-A6DA-27323A98DFD6}"/>
                </a:ext>
              </a:extLst>
            </p:cNvPr>
            <p:cNvSpPr/>
            <p:nvPr/>
          </p:nvSpPr>
          <p:spPr>
            <a:xfrm>
              <a:off x="6580706" y="1920017"/>
              <a:ext cx="1378721" cy="2388203"/>
            </a:xfrm>
            <a:custGeom>
              <a:avLst/>
              <a:gdLst>
                <a:gd name="connsiteX0" fmla="*/ 688772 w 1378721"/>
                <a:gd name="connsiteY0" fmla="*/ -129 h 2388203"/>
                <a:gd name="connsiteX1" fmla="*/ 185119 w 1378721"/>
                <a:gd name="connsiteY1" fmla="*/ 1883821 h 2388203"/>
                <a:gd name="connsiteX2" fmla="*/ 689820 w 1378721"/>
                <a:gd name="connsiteY2" fmla="*/ 2388074 h 2388203"/>
                <a:gd name="connsiteX3" fmla="*/ 1378478 w 1378721"/>
                <a:gd name="connsiteY3" fmla="*/ 1193639 h 2388203"/>
              </a:gdLst>
              <a:ahLst/>
              <a:cxnLst>
                <a:cxn ang="0">
                  <a:pos x="connsiteX0" y="connsiteY0"/>
                </a:cxn>
                <a:cxn ang="0">
                  <a:pos x="connsiteX1" y="connsiteY1"/>
                </a:cxn>
                <a:cxn ang="0">
                  <a:pos x="connsiteX2" y="connsiteY2"/>
                </a:cxn>
                <a:cxn ang="0">
                  <a:pos x="connsiteX3" y="connsiteY3"/>
                </a:cxn>
              </a:cxnLst>
              <a:rect l="l" t="t" r="r" b="b"/>
              <a:pathLst>
                <a:path w="1378721" h="2388203">
                  <a:moveTo>
                    <a:pt x="688772" y="-129"/>
                  </a:moveTo>
                  <a:cubicBezTo>
                    <a:pt x="29452" y="381033"/>
                    <a:pt x="-196033" y="1224500"/>
                    <a:pt x="185119" y="1883821"/>
                  </a:cubicBezTo>
                  <a:cubicBezTo>
                    <a:pt x="306201" y="2093266"/>
                    <a:pt x="480261" y="2267173"/>
                    <a:pt x="689820" y="2388074"/>
                  </a:cubicBezTo>
                  <a:lnTo>
                    <a:pt x="1378478" y="1193639"/>
                  </a:lnTo>
                  <a:close/>
                </a:path>
              </a:pathLst>
            </a:custGeom>
            <a:solidFill>
              <a:schemeClr val="accent5"/>
            </a:solidFill>
            <a:ln w="38100" cap="flat">
              <a:solidFill>
                <a:schemeClr val="bg1"/>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70B9F7CF-40EB-4814-9A8D-D5E19A3A081C}"/>
                </a:ext>
              </a:extLst>
            </p:cNvPr>
            <p:cNvSpPr/>
            <p:nvPr/>
          </p:nvSpPr>
          <p:spPr>
            <a:xfrm>
              <a:off x="7269722" y="1735325"/>
              <a:ext cx="2068163" cy="1378459"/>
            </a:xfrm>
            <a:custGeom>
              <a:avLst/>
              <a:gdLst>
                <a:gd name="connsiteX0" fmla="*/ 689462 w 2068163"/>
                <a:gd name="connsiteY0" fmla="*/ -128 h 1378459"/>
                <a:gd name="connsiteX1" fmla="*/ -244 w 2068163"/>
                <a:gd name="connsiteY1" fmla="*/ 184562 h 1378459"/>
                <a:gd name="connsiteX2" fmla="*/ 689462 w 2068163"/>
                <a:gd name="connsiteY2" fmla="*/ 1378330 h 1378459"/>
                <a:gd name="connsiteX3" fmla="*/ 2067920 w 2068163"/>
                <a:gd name="connsiteY3" fmla="*/ 1378330 h 1378459"/>
                <a:gd name="connsiteX4" fmla="*/ 689462 w 2068163"/>
                <a:gd name="connsiteY4" fmla="*/ -128 h 137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8163" h="1378459">
                  <a:moveTo>
                    <a:pt x="689462" y="-128"/>
                  </a:moveTo>
                  <a:cubicBezTo>
                    <a:pt x="447289" y="-499"/>
                    <a:pt x="209335" y="63223"/>
                    <a:pt x="-244" y="184562"/>
                  </a:cubicBezTo>
                  <a:lnTo>
                    <a:pt x="689462" y="1378330"/>
                  </a:lnTo>
                  <a:lnTo>
                    <a:pt x="2067920" y="1378330"/>
                  </a:lnTo>
                  <a:cubicBezTo>
                    <a:pt x="2067920" y="617026"/>
                    <a:pt x="1450767" y="-128"/>
                    <a:pt x="689462" y="-128"/>
                  </a:cubicBezTo>
                  <a:close/>
                </a:path>
              </a:pathLst>
            </a:custGeom>
            <a:solidFill>
              <a:schemeClr val="accent2"/>
            </a:solidFill>
            <a:ln w="38100" cap="flat">
              <a:solidFill>
                <a:schemeClr val="bg1"/>
              </a:solidFill>
              <a:prstDash val="solid"/>
              <a:miter/>
            </a:ln>
          </p:spPr>
          <p:txBody>
            <a:bodyPr rtlCol="0" anchor="ctr"/>
            <a:lstStyle/>
            <a:p>
              <a:endParaRPr lang="en-US"/>
            </a:p>
          </p:txBody>
        </p:sp>
      </p:grpSp>
      <p:sp>
        <p:nvSpPr>
          <p:cNvPr id="18" name="TextBox 17">
            <a:extLst>
              <a:ext uri="{FF2B5EF4-FFF2-40B4-BE49-F238E27FC236}">
                <a16:creationId xmlns:a16="http://schemas.microsoft.com/office/drawing/2014/main" id="{F06A195E-EBD5-4D7D-A801-C54FF094A608}"/>
              </a:ext>
            </a:extLst>
          </p:cNvPr>
          <p:cNvSpPr txBox="1"/>
          <p:nvPr/>
        </p:nvSpPr>
        <p:spPr>
          <a:xfrm>
            <a:off x="8607092" y="1438821"/>
            <a:ext cx="2314739" cy="590931"/>
          </a:xfrm>
          <a:prstGeom prst="rect">
            <a:avLst/>
          </a:prstGeom>
          <a:noFill/>
        </p:spPr>
        <p:txBody>
          <a:bodyPr wrap="square">
            <a:spAutoFit/>
          </a:bodyPr>
          <a:lstStyle/>
          <a:p>
            <a:pPr>
              <a:lnSpc>
                <a:spcPct val="90000"/>
              </a:lnSpc>
            </a:pPr>
            <a:r>
              <a:rPr lang="en-US"/>
              <a:t>Surface </a:t>
            </a:r>
            <a:br>
              <a:rPr lang="en-US"/>
            </a:br>
            <a:r>
              <a:rPr lang="en-US"/>
              <a:t>preparation</a:t>
            </a:r>
          </a:p>
        </p:txBody>
      </p:sp>
      <p:sp>
        <p:nvSpPr>
          <p:cNvPr id="20" name="TextBox 19">
            <a:extLst>
              <a:ext uri="{FF2B5EF4-FFF2-40B4-BE49-F238E27FC236}">
                <a16:creationId xmlns:a16="http://schemas.microsoft.com/office/drawing/2014/main" id="{91FA2F0E-4C08-41F7-9291-0A6C457B8503}"/>
              </a:ext>
            </a:extLst>
          </p:cNvPr>
          <p:cNvSpPr txBox="1"/>
          <p:nvPr/>
        </p:nvSpPr>
        <p:spPr>
          <a:xfrm>
            <a:off x="8972810" y="4214336"/>
            <a:ext cx="2349120" cy="590931"/>
          </a:xfrm>
          <a:prstGeom prst="rect">
            <a:avLst/>
          </a:prstGeom>
          <a:noFill/>
        </p:spPr>
        <p:txBody>
          <a:bodyPr wrap="square">
            <a:spAutoFit/>
          </a:bodyPr>
          <a:lstStyle/>
          <a:p>
            <a:pPr>
              <a:lnSpc>
                <a:spcPct val="90000"/>
              </a:lnSpc>
            </a:pPr>
            <a:r>
              <a:rPr lang="en-US"/>
              <a:t>Dry film </a:t>
            </a:r>
            <a:br>
              <a:rPr lang="en-US"/>
            </a:br>
            <a:r>
              <a:rPr lang="en-US"/>
              <a:t>thickness</a:t>
            </a:r>
          </a:p>
        </p:txBody>
      </p:sp>
      <p:sp>
        <p:nvSpPr>
          <p:cNvPr id="22" name="TextBox 21">
            <a:extLst>
              <a:ext uri="{FF2B5EF4-FFF2-40B4-BE49-F238E27FC236}">
                <a16:creationId xmlns:a16="http://schemas.microsoft.com/office/drawing/2014/main" id="{2ED0075C-00A5-42F4-9433-01ECF4FB516A}"/>
              </a:ext>
            </a:extLst>
          </p:cNvPr>
          <p:cNvSpPr txBox="1"/>
          <p:nvPr/>
        </p:nvSpPr>
        <p:spPr>
          <a:xfrm>
            <a:off x="2531825" y="2784060"/>
            <a:ext cx="3094188" cy="341632"/>
          </a:xfrm>
          <a:prstGeom prst="rect">
            <a:avLst/>
          </a:prstGeom>
          <a:noFill/>
        </p:spPr>
        <p:txBody>
          <a:bodyPr wrap="square" lIns="91440" tIns="45720" rIns="91440" bIns="45720" anchor="t">
            <a:spAutoFit/>
          </a:bodyPr>
          <a:lstStyle/>
          <a:p>
            <a:pPr algn="r">
              <a:lnSpc>
                <a:spcPct val="90000"/>
              </a:lnSpc>
            </a:pPr>
            <a:r>
              <a:rPr lang="en-US"/>
              <a:t>Cure (temperature and time)</a:t>
            </a:r>
          </a:p>
        </p:txBody>
      </p:sp>
    </p:spTree>
    <p:extLst>
      <p:ext uri="{BB962C8B-B14F-4D97-AF65-F5344CB8AC3E}">
        <p14:creationId xmlns:p14="http://schemas.microsoft.com/office/powerpoint/2010/main" val="2336329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Background pattern&#10;&#10;Description automatically generated with medium confidence">
            <a:extLst>
              <a:ext uri="{FF2B5EF4-FFF2-40B4-BE49-F238E27FC236}">
                <a16:creationId xmlns:a16="http://schemas.microsoft.com/office/drawing/2014/main" id="{313862DA-280A-4984-B4DE-3F1E289BE7A1}"/>
              </a:ext>
            </a:extLst>
          </p:cNvPr>
          <p:cNvPicPr>
            <a:picLocks noChangeAspect="1"/>
          </p:cNvPicPr>
          <p:nvPr/>
        </p:nvPicPr>
        <p:blipFill rotWithShape="1">
          <a:blip r:embed="rId3"/>
          <a:srcRect b="2536"/>
          <a:stretch/>
        </p:blipFill>
        <p:spPr>
          <a:xfrm>
            <a:off x="0" y="168901"/>
            <a:ext cx="12188825" cy="6689099"/>
          </a:xfrm>
          <a:prstGeom prst="rect">
            <a:avLst/>
          </a:prstGeom>
        </p:spPr>
      </p:pic>
      <p:grpSp>
        <p:nvGrpSpPr>
          <p:cNvPr id="14" name="Group 13">
            <a:extLst>
              <a:ext uri="{FF2B5EF4-FFF2-40B4-BE49-F238E27FC236}">
                <a16:creationId xmlns:a16="http://schemas.microsoft.com/office/drawing/2014/main" id="{6DEF253F-3D2D-4821-822F-77EFBC77A8D0}"/>
              </a:ext>
            </a:extLst>
          </p:cNvPr>
          <p:cNvGrpSpPr/>
          <p:nvPr/>
        </p:nvGrpSpPr>
        <p:grpSpPr>
          <a:xfrm>
            <a:off x="0" y="158860"/>
            <a:ext cx="7260661" cy="6686462"/>
            <a:chOff x="-510898" y="892"/>
            <a:chExt cx="7483835" cy="6891986"/>
          </a:xfrm>
        </p:grpSpPr>
        <p:sp>
          <p:nvSpPr>
            <p:cNvPr id="12" name="Rectangle 11">
              <a:extLst>
                <a:ext uri="{FF2B5EF4-FFF2-40B4-BE49-F238E27FC236}">
                  <a16:creationId xmlns:a16="http://schemas.microsoft.com/office/drawing/2014/main" id="{3A02EEDD-6ADF-4D3D-88C4-BDC324BC5816}"/>
                </a:ext>
              </a:extLst>
            </p:cNvPr>
            <p:cNvSpPr/>
            <p:nvPr/>
          </p:nvSpPr>
          <p:spPr>
            <a:xfrm>
              <a:off x="-510898" y="892"/>
              <a:ext cx="4099865" cy="68919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13" name="Rectangle 5">
              <a:extLst>
                <a:ext uri="{FF2B5EF4-FFF2-40B4-BE49-F238E27FC236}">
                  <a16:creationId xmlns:a16="http://schemas.microsoft.com/office/drawing/2014/main" id="{41FB53AC-BBB0-44A8-A978-0EA54C18251E}"/>
                </a:ext>
              </a:extLst>
            </p:cNvPr>
            <p:cNvSpPr/>
            <p:nvPr/>
          </p:nvSpPr>
          <p:spPr>
            <a:xfrm flipH="1" flipV="1">
              <a:off x="3445261" y="892"/>
              <a:ext cx="3527676" cy="6891986"/>
            </a:xfrm>
            <a:custGeom>
              <a:avLst/>
              <a:gdLst>
                <a:gd name="connsiteX0" fmla="*/ 0 w 5613621"/>
                <a:gd name="connsiteY0" fmla="*/ 0 h 5613621"/>
                <a:gd name="connsiteX1" fmla="*/ 5613621 w 5613621"/>
                <a:gd name="connsiteY1" fmla="*/ 0 h 5613621"/>
                <a:gd name="connsiteX2" fmla="*/ 5613621 w 5613621"/>
                <a:gd name="connsiteY2" fmla="*/ 5613621 h 5613621"/>
                <a:gd name="connsiteX3" fmla="*/ 0 w 5613621"/>
                <a:gd name="connsiteY3" fmla="*/ 5613621 h 5613621"/>
                <a:gd name="connsiteX4" fmla="*/ 0 w 5613621"/>
                <a:gd name="connsiteY4" fmla="*/ 0 h 5613621"/>
                <a:gd name="connsiteX0" fmla="*/ 0 w 5613621"/>
                <a:gd name="connsiteY0" fmla="*/ 5613621 h 5613621"/>
                <a:gd name="connsiteX1" fmla="*/ 5613621 w 5613621"/>
                <a:gd name="connsiteY1" fmla="*/ 0 h 5613621"/>
                <a:gd name="connsiteX2" fmla="*/ 5613621 w 5613621"/>
                <a:gd name="connsiteY2" fmla="*/ 5613621 h 5613621"/>
                <a:gd name="connsiteX3" fmla="*/ 0 w 5613621"/>
                <a:gd name="connsiteY3" fmla="*/ 5613621 h 5613621"/>
              </a:gdLst>
              <a:ahLst/>
              <a:cxnLst>
                <a:cxn ang="0">
                  <a:pos x="connsiteX0" y="connsiteY0"/>
                </a:cxn>
                <a:cxn ang="0">
                  <a:pos x="connsiteX1" y="connsiteY1"/>
                </a:cxn>
                <a:cxn ang="0">
                  <a:pos x="connsiteX2" y="connsiteY2"/>
                </a:cxn>
                <a:cxn ang="0">
                  <a:pos x="connsiteX3" y="connsiteY3"/>
                </a:cxn>
              </a:cxnLst>
              <a:rect l="l" t="t" r="r" b="b"/>
              <a:pathLst>
                <a:path w="5613621" h="5613621">
                  <a:moveTo>
                    <a:pt x="0" y="5613621"/>
                  </a:moveTo>
                  <a:lnTo>
                    <a:pt x="5613621" y="0"/>
                  </a:lnTo>
                  <a:lnTo>
                    <a:pt x="5613621" y="5613621"/>
                  </a:lnTo>
                  <a:lnTo>
                    <a:pt x="0" y="5613621"/>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grpSp>
      <p:sp>
        <p:nvSpPr>
          <p:cNvPr id="6" name="Slide Number Placeholder 5"/>
          <p:cNvSpPr>
            <a:spLocks noGrp="1"/>
          </p:cNvSpPr>
          <p:nvPr>
            <p:ph type="sldNum" sz="quarter" idx="11"/>
          </p:nvPr>
        </p:nvSpPr>
        <p:spPr/>
        <p:txBody>
          <a:bodyPr/>
          <a:lstStyle/>
          <a:p>
            <a:fld id="{FD9C4343-C115-504A-8D4F-0B17318D4A48}" type="slidenum">
              <a:rPr lang="en-US" smtClean="0"/>
              <a:pPr/>
              <a:t>6</a:t>
            </a:fld>
            <a:endParaRPr lang="en-US"/>
          </a:p>
        </p:txBody>
      </p:sp>
      <p:sp>
        <p:nvSpPr>
          <p:cNvPr id="4" name="Content Placeholder 3"/>
          <p:cNvSpPr>
            <a:spLocks noGrp="1"/>
          </p:cNvSpPr>
          <p:nvPr>
            <p:ph idx="1"/>
          </p:nvPr>
        </p:nvSpPr>
        <p:spPr>
          <a:xfrm>
            <a:off x="523505" y="1274826"/>
            <a:ext cx="4269212" cy="4713224"/>
          </a:xfrm>
        </p:spPr>
        <p:txBody>
          <a:bodyPr vert="horz" lIns="0" tIns="0" rIns="0" bIns="0" rtlCol="0" anchor="t">
            <a:normAutofit/>
          </a:bodyPr>
          <a:lstStyle/>
          <a:p>
            <a:pPr marL="0" indent="0">
              <a:lnSpc>
                <a:spcPct val="90000"/>
              </a:lnSpc>
              <a:buNone/>
            </a:pPr>
            <a:r>
              <a:rPr lang="en-US" sz="2000"/>
              <a:t>Preparing a substrate properly is the first step toward a successful coating application. Proper preparation can vary depending on the substrate, the end use of the coating and the cost. </a:t>
            </a:r>
          </a:p>
          <a:p>
            <a:pPr marL="0" indent="0">
              <a:lnSpc>
                <a:spcPct val="90000"/>
              </a:lnSpc>
              <a:buNone/>
            </a:pPr>
            <a:r>
              <a:rPr lang="en-US" sz="2000"/>
              <a:t>These are some examples of typical </a:t>
            </a:r>
            <a:br>
              <a:rPr lang="en-US" sz="2000"/>
            </a:br>
            <a:r>
              <a:rPr lang="en-US" sz="2000"/>
              <a:t>means to prepare the surface for non-stick coating application: </a:t>
            </a:r>
          </a:p>
          <a:p>
            <a:pPr marL="233045" indent="-233045">
              <a:lnSpc>
                <a:spcPct val="90000"/>
              </a:lnSpc>
            </a:pPr>
            <a:r>
              <a:rPr lang="en-US" sz="1800"/>
              <a:t>Alkaline wash</a:t>
            </a:r>
          </a:p>
          <a:p>
            <a:pPr marL="233045" indent="-233045">
              <a:lnSpc>
                <a:spcPct val="90000"/>
              </a:lnSpc>
            </a:pPr>
            <a:r>
              <a:rPr lang="en-US" sz="1800"/>
              <a:t>Mechanical roughening </a:t>
            </a:r>
            <a:br>
              <a:rPr lang="en-US" sz="1800"/>
            </a:br>
            <a:r>
              <a:rPr lang="en-US" sz="1800"/>
              <a:t>(grit blasting and linishing)</a:t>
            </a:r>
          </a:p>
          <a:p>
            <a:pPr marL="233045" indent="-233045">
              <a:lnSpc>
                <a:spcPct val="90000"/>
              </a:lnSpc>
            </a:pPr>
            <a:r>
              <a:rPr lang="en-US" sz="1800"/>
              <a:t>Chemical cleaning and/or etching</a:t>
            </a:r>
          </a:p>
          <a:p>
            <a:pPr marL="233045" indent="-233045">
              <a:lnSpc>
                <a:spcPct val="90000"/>
              </a:lnSpc>
            </a:pPr>
            <a:r>
              <a:rPr lang="en-US" sz="1800"/>
              <a:t>Zinc Phosphate (carbon steel bakeware)</a:t>
            </a:r>
          </a:p>
          <a:p>
            <a:pPr marL="233045" indent="-233045">
              <a:lnSpc>
                <a:spcPct val="90000"/>
              </a:lnSpc>
            </a:pPr>
            <a:endParaRPr lang="en-US" sz="2000"/>
          </a:p>
        </p:txBody>
      </p:sp>
      <p:sp>
        <p:nvSpPr>
          <p:cNvPr id="5" name="Title 4"/>
          <p:cNvSpPr>
            <a:spLocks noGrp="1"/>
          </p:cNvSpPr>
          <p:nvPr>
            <p:ph type="title"/>
          </p:nvPr>
        </p:nvSpPr>
        <p:spPr>
          <a:xfrm>
            <a:off x="989013" y="323848"/>
            <a:ext cx="10991531" cy="859536"/>
          </a:xfrm>
        </p:spPr>
        <p:txBody>
          <a:bodyPr/>
          <a:lstStyle/>
          <a:p>
            <a:r>
              <a:rPr lang="en-US"/>
              <a:t>Surface preparation</a:t>
            </a:r>
          </a:p>
        </p:txBody>
      </p:sp>
      <p:grpSp>
        <p:nvGrpSpPr>
          <p:cNvPr id="7" name="Group 6">
            <a:extLst>
              <a:ext uri="{FF2B5EF4-FFF2-40B4-BE49-F238E27FC236}">
                <a16:creationId xmlns:a16="http://schemas.microsoft.com/office/drawing/2014/main" id="{4E47844C-8BEF-4624-A9E2-3CBF55CCCFCF}"/>
              </a:ext>
            </a:extLst>
          </p:cNvPr>
          <p:cNvGrpSpPr/>
          <p:nvPr/>
        </p:nvGrpSpPr>
        <p:grpSpPr>
          <a:xfrm>
            <a:off x="135108" y="232406"/>
            <a:ext cx="721039" cy="721033"/>
            <a:chOff x="6580706" y="1735325"/>
            <a:chExt cx="2757179" cy="2757157"/>
          </a:xfrm>
        </p:grpSpPr>
        <p:sp>
          <p:nvSpPr>
            <p:cNvPr id="8" name="Freeform: Shape 7">
              <a:extLst>
                <a:ext uri="{FF2B5EF4-FFF2-40B4-BE49-F238E27FC236}">
                  <a16:creationId xmlns:a16="http://schemas.microsoft.com/office/drawing/2014/main" id="{B94017D5-6F68-40EA-89BC-65D1968D1F66}"/>
                </a:ext>
              </a:extLst>
            </p:cNvPr>
            <p:cNvSpPr/>
            <p:nvPr/>
          </p:nvSpPr>
          <p:spPr>
            <a:xfrm>
              <a:off x="7270770" y="3113785"/>
              <a:ext cx="2066925" cy="1378697"/>
            </a:xfrm>
            <a:custGeom>
              <a:avLst/>
              <a:gdLst>
                <a:gd name="connsiteX0" fmla="*/ -244 w 2066925"/>
                <a:gd name="connsiteY0" fmla="*/ 1194306 h 1378697"/>
                <a:gd name="connsiteX1" fmla="*/ 1882649 w 2066925"/>
                <a:gd name="connsiteY1" fmla="*/ 687776 h 1378697"/>
                <a:gd name="connsiteX2" fmla="*/ 2066682 w 2066925"/>
                <a:gd name="connsiteY2" fmla="*/ -129 h 1378697"/>
                <a:gd name="connsiteX3" fmla="*/ 688414 w 2066925"/>
                <a:gd name="connsiteY3" fmla="*/ -129 h 1378697"/>
              </a:gdLst>
              <a:ahLst/>
              <a:cxnLst>
                <a:cxn ang="0">
                  <a:pos x="connsiteX0" y="connsiteY0"/>
                </a:cxn>
                <a:cxn ang="0">
                  <a:pos x="connsiteX1" y="connsiteY1"/>
                </a:cxn>
                <a:cxn ang="0">
                  <a:pos x="connsiteX2" y="connsiteY2"/>
                </a:cxn>
                <a:cxn ang="0">
                  <a:pos x="connsiteX3" y="connsiteY3"/>
                </a:cxn>
              </a:cxnLst>
              <a:rect l="l" t="t" r="r" b="b"/>
              <a:pathLst>
                <a:path w="2066925" h="1378697">
                  <a:moveTo>
                    <a:pt x="-244" y="1194306"/>
                  </a:moveTo>
                  <a:cubicBezTo>
                    <a:pt x="659582" y="1574382"/>
                    <a:pt x="1502583" y="1347592"/>
                    <a:pt x="1882649" y="687776"/>
                  </a:cubicBezTo>
                  <a:cubicBezTo>
                    <a:pt x="2003169" y="478540"/>
                    <a:pt x="2066634" y="241330"/>
                    <a:pt x="2066682" y="-129"/>
                  </a:cubicBezTo>
                  <a:lnTo>
                    <a:pt x="688414" y="-129"/>
                  </a:lnTo>
                  <a:close/>
                </a:path>
              </a:pathLst>
            </a:custGeom>
            <a:solidFill>
              <a:schemeClr val="bg2">
                <a:lumMod val="85000"/>
              </a:schemeClr>
            </a:solidFill>
            <a:ln w="28575" cap="flat">
              <a:solidFill>
                <a:schemeClr val="bg1"/>
              </a:solid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2FAF93DB-347C-49A5-B393-6021D9A45049}"/>
                </a:ext>
              </a:extLst>
            </p:cNvPr>
            <p:cNvSpPr/>
            <p:nvPr/>
          </p:nvSpPr>
          <p:spPr>
            <a:xfrm>
              <a:off x="6580706" y="1920017"/>
              <a:ext cx="1378721" cy="2388203"/>
            </a:xfrm>
            <a:custGeom>
              <a:avLst/>
              <a:gdLst>
                <a:gd name="connsiteX0" fmla="*/ 688772 w 1378721"/>
                <a:gd name="connsiteY0" fmla="*/ -129 h 2388203"/>
                <a:gd name="connsiteX1" fmla="*/ 185119 w 1378721"/>
                <a:gd name="connsiteY1" fmla="*/ 1883821 h 2388203"/>
                <a:gd name="connsiteX2" fmla="*/ 689820 w 1378721"/>
                <a:gd name="connsiteY2" fmla="*/ 2388074 h 2388203"/>
                <a:gd name="connsiteX3" fmla="*/ 1378478 w 1378721"/>
                <a:gd name="connsiteY3" fmla="*/ 1193639 h 2388203"/>
              </a:gdLst>
              <a:ahLst/>
              <a:cxnLst>
                <a:cxn ang="0">
                  <a:pos x="connsiteX0" y="connsiteY0"/>
                </a:cxn>
                <a:cxn ang="0">
                  <a:pos x="connsiteX1" y="connsiteY1"/>
                </a:cxn>
                <a:cxn ang="0">
                  <a:pos x="connsiteX2" y="connsiteY2"/>
                </a:cxn>
                <a:cxn ang="0">
                  <a:pos x="connsiteX3" y="connsiteY3"/>
                </a:cxn>
              </a:cxnLst>
              <a:rect l="l" t="t" r="r" b="b"/>
              <a:pathLst>
                <a:path w="1378721" h="2388203">
                  <a:moveTo>
                    <a:pt x="688772" y="-129"/>
                  </a:moveTo>
                  <a:cubicBezTo>
                    <a:pt x="29452" y="381033"/>
                    <a:pt x="-196033" y="1224500"/>
                    <a:pt x="185119" y="1883821"/>
                  </a:cubicBezTo>
                  <a:cubicBezTo>
                    <a:pt x="306201" y="2093266"/>
                    <a:pt x="480261" y="2267173"/>
                    <a:pt x="689820" y="2388074"/>
                  </a:cubicBezTo>
                  <a:lnTo>
                    <a:pt x="1378478" y="1193639"/>
                  </a:lnTo>
                  <a:close/>
                </a:path>
              </a:pathLst>
            </a:custGeom>
            <a:solidFill>
              <a:schemeClr val="bg2">
                <a:lumMod val="85000"/>
              </a:schemeClr>
            </a:solidFill>
            <a:ln w="28575" cap="flat">
              <a:solidFill>
                <a:schemeClr val="bg1"/>
              </a:solid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47E81DFF-A8AE-4EDF-8C79-BCD3F228B2DA}"/>
                </a:ext>
              </a:extLst>
            </p:cNvPr>
            <p:cNvSpPr/>
            <p:nvPr/>
          </p:nvSpPr>
          <p:spPr>
            <a:xfrm>
              <a:off x="7269722" y="1735325"/>
              <a:ext cx="2068163" cy="1378459"/>
            </a:xfrm>
            <a:custGeom>
              <a:avLst/>
              <a:gdLst>
                <a:gd name="connsiteX0" fmla="*/ 689462 w 2068163"/>
                <a:gd name="connsiteY0" fmla="*/ -128 h 1378459"/>
                <a:gd name="connsiteX1" fmla="*/ -244 w 2068163"/>
                <a:gd name="connsiteY1" fmla="*/ 184562 h 1378459"/>
                <a:gd name="connsiteX2" fmla="*/ 689462 w 2068163"/>
                <a:gd name="connsiteY2" fmla="*/ 1378330 h 1378459"/>
                <a:gd name="connsiteX3" fmla="*/ 2067920 w 2068163"/>
                <a:gd name="connsiteY3" fmla="*/ 1378330 h 1378459"/>
                <a:gd name="connsiteX4" fmla="*/ 689462 w 2068163"/>
                <a:gd name="connsiteY4" fmla="*/ -128 h 137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8163" h="1378459">
                  <a:moveTo>
                    <a:pt x="689462" y="-128"/>
                  </a:moveTo>
                  <a:cubicBezTo>
                    <a:pt x="447289" y="-499"/>
                    <a:pt x="209335" y="63223"/>
                    <a:pt x="-244" y="184562"/>
                  </a:cubicBezTo>
                  <a:lnTo>
                    <a:pt x="689462" y="1378330"/>
                  </a:lnTo>
                  <a:lnTo>
                    <a:pt x="2067920" y="1378330"/>
                  </a:lnTo>
                  <a:cubicBezTo>
                    <a:pt x="2067920" y="617026"/>
                    <a:pt x="1450767" y="-128"/>
                    <a:pt x="689462" y="-128"/>
                  </a:cubicBezTo>
                  <a:close/>
                </a:path>
              </a:pathLst>
            </a:custGeom>
            <a:solidFill>
              <a:schemeClr val="accent2"/>
            </a:solidFill>
            <a:ln w="28575" cap="flat">
              <a:solidFill>
                <a:schemeClr val="bg1"/>
              </a:solid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6FF727CF-D638-4473-B176-AE9F6961CCD1}"/>
              </a:ext>
            </a:extLst>
          </p:cNvPr>
          <p:cNvGrpSpPr/>
          <p:nvPr/>
        </p:nvGrpSpPr>
        <p:grpSpPr>
          <a:xfrm>
            <a:off x="11267231" y="6148330"/>
            <a:ext cx="664418" cy="525190"/>
            <a:chOff x="10850888" y="5174158"/>
            <a:chExt cx="664418" cy="525190"/>
          </a:xfrm>
        </p:grpSpPr>
        <p:sp>
          <p:nvSpPr>
            <p:cNvPr id="16" name="Freeform: Shape 15">
              <a:extLst>
                <a:ext uri="{FF2B5EF4-FFF2-40B4-BE49-F238E27FC236}">
                  <a16:creationId xmlns:a16="http://schemas.microsoft.com/office/drawing/2014/main" id="{167DE191-1F80-49A7-BFED-2EE6A6430E24}"/>
                </a:ext>
              </a:extLst>
            </p:cNvPr>
            <p:cNvSpPr/>
            <p:nvPr/>
          </p:nvSpPr>
          <p:spPr>
            <a:xfrm>
              <a:off x="10850888" y="5174158"/>
              <a:ext cx="664418" cy="525190"/>
            </a:xfrm>
            <a:custGeom>
              <a:avLst/>
              <a:gdLst>
                <a:gd name="connsiteX0" fmla="*/ 538546 w 664418"/>
                <a:gd name="connsiteY0" fmla="*/ 525191 h 525190"/>
                <a:gd name="connsiteX1" fmla="*/ 125872 w 664418"/>
                <a:gd name="connsiteY1" fmla="*/ 525191 h 525190"/>
                <a:gd name="connsiteX2" fmla="*/ 0 w 664418"/>
                <a:gd name="connsiteY2" fmla="*/ 399319 h 525190"/>
                <a:gd name="connsiteX3" fmla="*/ 0 w 664418"/>
                <a:gd name="connsiteY3" fmla="*/ 125872 h 525190"/>
                <a:gd name="connsiteX4" fmla="*/ 125872 w 664418"/>
                <a:gd name="connsiteY4" fmla="*/ 0 h 525190"/>
                <a:gd name="connsiteX5" fmla="*/ 538546 w 664418"/>
                <a:gd name="connsiteY5" fmla="*/ 0 h 525190"/>
                <a:gd name="connsiteX6" fmla="*/ 664418 w 664418"/>
                <a:gd name="connsiteY6" fmla="*/ 125872 h 525190"/>
                <a:gd name="connsiteX7" fmla="*/ 664418 w 664418"/>
                <a:gd name="connsiteY7" fmla="*/ 399319 h 525190"/>
                <a:gd name="connsiteX8" fmla="*/ 538546 w 664418"/>
                <a:gd name="connsiteY8" fmla="*/ 525191 h 52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418" h="525190">
                  <a:moveTo>
                    <a:pt x="538546" y="525191"/>
                  </a:moveTo>
                  <a:lnTo>
                    <a:pt x="125872" y="525191"/>
                  </a:lnTo>
                  <a:cubicBezTo>
                    <a:pt x="56425" y="525191"/>
                    <a:pt x="0" y="468765"/>
                    <a:pt x="0" y="399319"/>
                  </a:cubicBezTo>
                  <a:lnTo>
                    <a:pt x="0" y="125872"/>
                  </a:lnTo>
                  <a:cubicBezTo>
                    <a:pt x="0" y="56425"/>
                    <a:pt x="56425" y="0"/>
                    <a:pt x="125872" y="0"/>
                  </a:cubicBezTo>
                  <a:lnTo>
                    <a:pt x="538546" y="0"/>
                  </a:lnTo>
                  <a:cubicBezTo>
                    <a:pt x="607993" y="0"/>
                    <a:pt x="664418" y="56425"/>
                    <a:pt x="664418" y="125872"/>
                  </a:cubicBezTo>
                  <a:lnTo>
                    <a:pt x="664418" y="399319"/>
                  </a:lnTo>
                  <a:cubicBezTo>
                    <a:pt x="664418" y="468765"/>
                    <a:pt x="607993" y="525191"/>
                    <a:pt x="538546" y="525191"/>
                  </a:cubicBezTo>
                  <a:close/>
                </a:path>
              </a:pathLst>
            </a:custGeom>
            <a:solidFill>
              <a:srgbClr val="FFFFFF"/>
            </a:solidFill>
            <a:ln w="3303"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E1163E44-961A-4C72-AA7B-A73A5307A494}"/>
                </a:ext>
              </a:extLst>
            </p:cNvPr>
            <p:cNvSpPr/>
            <p:nvPr/>
          </p:nvSpPr>
          <p:spPr>
            <a:xfrm>
              <a:off x="10873257" y="5196527"/>
              <a:ext cx="619680" cy="480450"/>
            </a:xfrm>
            <a:custGeom>
              <a:avLst/>
              <a:gdLst>
                <a:gd name="connsiteX0" fmla="*/ 516176 w 619680"/>
                <a:gd name="connsiteY0" fmla="*/ 480451 h 480450"/>
                <a:gd name="connsiteX1" fmla="*/ 103502 w 619680"/>
                <a:gd name="connsiteY1" fmla="*/ 480451 h 480450"/>
                <a:gd name="connsiteX2" fmla="*/ 0 w 619680"/>
                <a:gd name="connsiteY2" fmla="*/ 376949 h 480450"/>
                <a:gd name="connsiteX3" fmla="*/ 0 w 619680"/>
                <a:gd name="connsiteY3" fmla="*/ 103502 h 480450"/>
                <a:gd name="connsiteX4" fmla="*/ 103502 w 619680"/>
                <a:gd name="connsiteY4" fmla="*/ 0 h 480450"/>
                <a:gd name="connsiteX5" fmla="*/ 516176 w 619680"/>
                <a:gd name="connsiteY5" fmla="*/ 0 h 480450"/>
                <a:gd name="connsiteX6" fmla="*/ 619678 w 619680"/>
                <a:gd name="connsiteY6" fmla="*/ 103502 h 480450"/>
                <a:gd name="connsiteX7" fmla="*/ 619678 w 619680"/>
                <a:gd name="connsiteY7" fmla="*/ 376949 h 480450"/>
                <a:gd name="connsiteX8" fmla="*/ 516176 w 619680"/>
                <a:gd name="connsiteY8" fmla="*/ 480451 h 4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680" h="480450">
                  <a:moveTo>
                    <a:pt x="516176" y="480451"/>
                  </a:moveTo>
                  <a:lnTo>
                    <a:pt x="103502" y="480451"/>
                  </a:lnTo>
                  <a:cubicBezTo>
                    <a:pt x="46409" y="480451"/>
                    <a:pt x="0" y="433708"/>
                    <a:pt x="0" y="376949"/>
                  </a:cubicBezTo>
                  <a:lnTo>
                    <a:pt x="0" y="103502"/>
                  </a:lnTo>
                  <a:cubicBezTo>
                    <a:pt x="0" y="46409"/>
                    <a:pt x="46743" y="0"/>
                    <a:pt x="103502" y="0"/>
                  </a:cubicBezTo>
                  <a:lnTo>
                    <a:pt x="516176" y="0"/>
                  </a:lnTo>
                  <a:cubicBezTo>
                    <a:pt x="573269" y="0"/>
                    <a:pt x="619678" y="46743"/>
                    <a:pt x="619678" y="103502"/>
                  </a:cubicBezTo>
                  <a:lnTo>
                    <a:pt x="619678" y="376949"/>
                  </a:lnTo>
                  <a:cubicBezTo>
                    <a:pt x="620012" y="434042"/>
                    <a:pt x="573269" y="480451"/>
                    <a:pt x="516176" y="480451"/>
                  </a:cubicBezTo>
                  <a:close/>
                </a:path>
              </a:pathLst>
            </a:custGeom>
            <a:solidFill>
              <a:srgbClr val="0078A9"/>
            </a:solidFill>
            <a:ln w="3303"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2B0248DC-ED60-4A7F-B727-3A1044B2F06D}"/>
                </a:ext>
              </a:extLst>
            </p:cNvPr>
            <p:cNvSpPr/>
            <p:nvPr/>
          </p:nvSpPr>
          <p:spPr>
            <a:xfrm>
              <a:off x="10902639" y="5239677"/>
              <a:ext cx="561249" cy="393229"/>
            </a:xfrm>
            <a:custGeom>
              <a:avLst/>
              <a:gdLst>
                <a:gd name="connsiteX0" fmla="*/ 491135 w 561249"/>
                <a:gd name="connsiteY0" fmla="*/ 113106 h 393229"/>
                <a:gd name="connsiteX1" fmla="*/ 561250 w 561249"/>
                <a:gd name="connsiteY1" fmla="*/ 129800 h 393229"/>
                <a:gd name="connsiteX2" fmla="*/ 561250 w 561249"/>
                <a:gd name="connsiteY2" fmla="*/ 76379 h 393229"/>
                <a:gd name="connsiteX3" fmla="*/ 437047 w 561249"/>
                <a:gd name="connsiteY3" fmla="*/ 89066 h 393229"/>
                <a:gd name="connsiteX4" fmla="*/ 407332 w 561249"/>
                <a:gd name="connsiteY4" fmla="*/ 120785 h 393229"/>
                <a:gd name="connsiteX5" fmla="*/ 405996 w 561249"/>
                <a:gd name="connsiteY5" fmla="*/ 123456 h 393229"/>
                <a:gd name="connsiteX6" fmla="*/ 221695 w 561249"/>
                <a:gd name="connsiteY6" fmla="*/ 255 h 393229"/>
                <a:gd name="connsiteX7" fmla="*/ 166271 w 561249"/>
                <a:gd name="connsiteY7" fmla="*/ 255 h 393229"/>
                <a:gd name="connsiteX8" fmla="*/ 166271 w 561249"/>
                <a:gd name="connsiteY8" fmla="*/ 116445 h 393229"/>
                <a:gd name="connsiteX9" fmla="*/ 45407 w 561249"/>
                <a:gd name="connsiteY9" fmla="*/ 73374 h 393229"/>
                <a:gd name="connsiteX10" fmla="*/ 0 w 561249"/>
                <a:gd name="connsiteY10" fmla="*/ 73374 h 393229"/>
                <a:gd name="connsiteX11" fmla="*/ 0 w 561249"/>
                <a:gd name="connsiteY11" fmla="*/ 319109 h 393229"/>
                <a:gd name="connsiteX12" fmla="*/ 74455 w 561249"/>
                <a:gd name="connsiteY12" fmla="*/ 319109 h 393229"/>
                <a:gd name="connsiteX13" fmla="*/ 55758 w 561249"/>
                <a:gd name="connsiteY13" fmla="*/ 288392 h 393229"/>
                <a:gd name="connsiteX14" fmla="*/ 55758 w 561249"/>
                <a:gd name="connsiteY14" fmla="*/ 221616 h 393229"/>
                <a:gd name="connsiteX15" fmla="*/ 77126 w 561249"/>
                <a:gd name="connsiteY15" fmla="*/ 242984 h 393229"/>
                <a:gd name="connsiteX16" fmla="*/ 94821 w 561249"/>
                <a:gd name="connsiteY16" fmla="*/ 244988 h 393229"/>
                <a:gd name="connsiteX17" fmla="*/ 166271 w 561249"/>
                <a:gd name="connsiteY17" fmla="*/ 194238 h 393229"/>
                <a:gd name="connsiteX18" fmla="*/ 166271 w 561249"/>
                <a:gd name="connsiteY18" fmla="*/ 393230 h 393229"/>
                <a:gd name="connsiteX19" fmla="*/ 254749 w 561249"/>
                <a:gd name="connsiteY19" fmla="*/ 393230 h 393229"/>
                <a:gd name="connsiteX20" fmla="*/ 236052 w 561249"/>
                <a:gd name="connsiteY20" fmla="*/ 362847 h 393229"/>
                <a:gd name="connsiteX21" fmla="*/ 236052 w 561249"/>
                <a:gd name="connsiteY21" fmla="*/ 229295 h 393229"/>
                <a:gd name="connsiteX22" fmla="*/ 269774 w 561249"/>
                <a:gd name="connsiteY22" fmla="*/ 262683 h 393229"/>
                <a:gd name="connsiteX23" fmla="*/ 297820 w 561249"/>
                <a:gd name="connsiteY23" fmla="*/ 266690 h 393229"/>
                <a:gd name="connsiteX24" fmla="*/ 390972 w 561249"/>
                <a:gd name="connsiteY24" fmla="*/ 207593 h 393229"/>
                <a:gd name="connsiteX25" fmla="*/ 451737 w 561249"/>
                <a:gd name="connsiteY25" fmla="*/ 312765 h 393229"/>
                <a:gd name="connsiteX26" fmla="*/ 516844 w 561249"/>
                <a:gd name="connsiteY26" fmla="*/ 321112 h 393229"/>
                <a:gd name="connsiteX27" fmla="*/ 561250 w 561249"/>
                <a:gd name="connsiteY27" fmla="*/ 316772 h 393229"/>
                <a:gd name="connsiteX28" fmla="*/ 561250 w 561249"/>
                <a:gd name="connsiteY28" fmla="*/ 196575 h 393229"/>
                <a:gd name="connsiteX29" fmla="*/ 493472 w 561249"/>
                <a:gd name="connsiteY29" fmla="*/ 196575 h 393229"/>
                <a:gd name="connsiteX30" fmla="*/ 512169 w 561249"/>
                <a:gd name="connsiteY30" fmla="*/ 226624 h 393229"/>
                <a:gd name="connsiteX31" fmla="*/ 512169 w 561249"/>
                <a:gd name="connsiteY31" fmla="*/ 281714 h 393229"/>
                <a:gd name="connsiteX32" fmla="*/ 464091 w 561249"/>
                <a:gd name="connsiteY32" fmla="*/ 266690 h 393229"/>
                <a:gd name="connsiteX33" fmla="*/ 453073 w 561249"/>
                <a:gd name="connsiteY33" fmla="*/ 157512 h 393229"/>
                <a:gd name="connsiteX34" fmla="*/ 491135 w 561249"/>
                <a:gd name="connsiteY34" fmla="*/ 113106 h 393229"/>
                <a:gd name="connsiteX35" fmla="*/ 80799 w 561249"/>
                <a:gd name="connsiteY35" fmla="*/ 212268 h 393229"/>
                <a:gd name="connsiteX36" fmla="*/ 55424 w 561249"/>
                <a:gd name="connsiteY36" fmla="*/ 204588 h 393229"/>
                <a:gd name="connsiteX37" fmla="*/ 55424 w 561249"/>
                <a:gd name="connsiteY37" fmla="*/ 116111 h 393229"/>
                <a:gd name="connsiteX38" fmla="*/ 69113 w 561249"/>
                <a:gd name="connsiteY38" fmla="*/ 102422 h 393229"/>
                <a:gd name="connsiteX39" fmla="*/ 117859 w 561249"/>
                <a:gd name="connsiteY39" fmla="*/ 154173 h 393229"/>
                <a:gd name="connsiteX40" fmla="*/ 80799 w 561249"/>
                <a:gd name="connsiteY40" fmla="*/ 212268 h 393229"/>
                <a:gd name="connsiteX41" fmla="*/ 280792 w 561249"/>
                <a:gd name="connsiteY41" fmla="*/ 221282 h 393229"/>
                <a:gd name="connsiteX42" fmla="*/ 236052 w 561249"/>
                <a:gd name="connsiteY42" fmla="*/ 208595 h 393229"/>
                <a:gd name="connsiteX43" fmla="*/ 236052 w 561249"/>
                <a:gd name="connsiteY43" fmla="*/ 62022 h 393229"/>
                <a:gd name="connsiteX44" fmla="*/ 262762 w 561249"/>
                <a:gd name="connsiteY44" fmla="*/ 39986 h 393229"/>
                <a:gd name="connsiteX45" fmla="*/ 337217 w 561249"/>
                <a:gd name="connsiteY45" fmla="*/ 125125 h 393229"/>
                <a:gd name="connsiteX46" fmla="*/ 280792 w 561249"/>
                <a:gd name="connsiteY46" fmla="*/ 221282 h 39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61249" h="393229">
                  <a:moveTo>
                    <a:pt x="491135" y="113106"/>
                  </a:moveTo>
                  <a:cubicBezTo>
                    <a:pt x="515842" y="105760"/>
                    <a:pt x="541217" y="113440"/>
                    <a:pt x="561250" y="129800"/>
                  </a:cubicBezTo>
                  <a:lnTo>
                    <a:pt x="561250" y="76379"/>
                  </a:lnTo>
                  <a:cubicBezTo>
                    <a:pt x="496477" y="66029"/>
                    <a:pt x="462755" y="73040"/>
                    <a:pt x="437047" y="89066"/>
                  </a:cubicBezTo>
                  <a:cubicBezTo>
                    <a:pt x="416013" y="102422"/>
                    <a:pt x="407332" y="120785"/>
                    <a:pt x="407332" y="120785"/>
                  </a:cubicBezTo>
                  <a:cubicBezTo>
                    <a:pt x="407332" y="120785"/>
                    <a:pt x="406998" y="121787"/>
                    <a:pt x="405996" y="123456"/>
                  </a:cubicBezTo>
                  <a:cubicBezTo>
                    <a:pt x="402657" y="-11431"/>
                    <a:pt x="320189" y="255"/>
                    <a:pt x="221695" y="255"/>
                  </a:cubicBezTo>
                  <a:cubicBezTo>
                    <a:pt x="193983" y="255"/>
                    <a:pt x="166271" y="255"/>
                    <a:pt x="166271" y="255"/>
                  </a:cubicBezTo>
                  <a:lnTo>
                    <a:pt x="166271" y="116445"/>
                  </a:lnTo>
                  <a:cubicBezTo>
                    <a:pt x="149911" y="68366"/>
                    <a:pt x="99496" y="73374"/>
                    <a:pt x="45407" y="73374"/>
                  </a:cubicBezTo>
                  <a:cubicBezTo>
                    <a:pt x="25709" y="73374"/>
                    <a:pt x="0" y="73374"/>
                    <a:pt x="0" y="73374"/>
                  </a:cubicBezTo>
                  <a:lnTo>
                    <a:pt x="0" y="319109"/>
                  </a:lnTo>
                  <a:lnTo>
                    <a:pt x="74455" y="319109"/>
                  </a:lnTo>
                  <a:cubicBezTo>
                    <a:pt x="62101" y="314768"/>
                    <a:pt x="55758" y="304084"/>
                    <a:pt x="55758" y="288392"/>
                  </a:cubicBezTo>
                  <a:lnTo>
                    <a:pt x="55758" y="221616"/>
                  </a:lnTo>
                  <a:lnTo>
                    <a:pt x="77126" y="242984"/>
                  </a:lnTo>
                  <a:cubicBezTo>
                    <a:pt x="86475" y="245322"/>
                    <a:pt x="94821" y="244988"/>
                    <a:pt x="94821" y="244988"/>
                  </a:cubicBezTo>
                  <a:cubicBezTo>
                    <a:pt x="115522" y="243986"/>
                    <a:pt x="152249" y="235973"/>
                    <a:pt x="166271" y="194238"/>
                  </a:cubicBezTo>
                  <a:lnTo>
                    <a:pt x="166271" y="393230"/>
                  </a:lnTo>
                  <a:lnTo>
                    <a:pt x="254749" y="393230"/>
                  </a:lnTo>
                  <a:cubicBezTo>
                    <a:pt x="242396" y="388889"/>
                    <a:pt x="236052" y="378205"/>
                    <a:pt x="236052" y="362847"/>
                  </a:cubicBezTo>
                  <a:lnTo>
                    <a:pt x="236052" y="229295"/>
                  </a:lnTo>
                  <a:lnTo>
                    <a:pt x="269774" y="262683"/>
                  </a:lnTo>
                  <a:cubicBezTo>
                    <a:pt x="280458" y="266690"/>
                    <a:pt x="288471" y="267358"/>
                    <a:pt x="297820" y="266690"/>
                  </a:cubicBezTo>
                  <a:cubicBezTo>
                    <a:pt x="323528" y="265020"/>
                    <a:pt x="367934" y="254002"/>
                    <a:pt x="390972" y="207593"/>
                  </a:cubicBezTo>
                  <a:cubicBezTo>
                    <a:pt x="392975" y="251665"/>
                    <a:pt x="407332" y="295737"/>
                    <a:pt x="451737" y="312765"/>
                  </a:cubicBezTo>
                  <a:cubicBezTo>
                    <a:pt x="471436" y="320778"/>
                    <a:pt x="493806" y="323115"/>
                    <a:pt x="516844" y="321112"/>
                  </a:cubicBezTo>
                  <a:cubicBezTo>
                    <a:pt x="531868" y="320778"/>
                    <a:pt x="546559" y="319443"/>
                    <a:pt x="561250" y="316772"/>
                  </a:cubicBezTo>
                  <a:lnTo>
                    <a:pt x="561250" y="196575"/>
                  </a:lnTo>
                  <a:lnTo>
                    <a:pt x="493472" y="196575"/>
                  </a:lnTo>
                  <a:cubicBezTo>
                    <a:pt x="505826" y="200916"/>
                    <a:pt x="512169" y="211266"/>
                    <a:pt x="512169" y="226624"/>
                  </a:cubicBezTo>
                  <a:lnTo>
                    <a:pt x="512169" y="281714"/>
                  </a:lnTo>
                  <a:cubicBezTo>
                    <a:pt x="496811" y="286722"/>
                    <a:pt x="475777" y="281714"/>
                    <a:pt x="464091" y="266690"/>
                  </a:cubicBezTo>
                  <a:cubicBezTo>
                    <a:pt x="449400" y="247659"/>
                    <a:pt x="446729" y="193904"/>
                    <a:pt x="453073" y="157512"/>
                  </a:cubicBezTo>
                  <a:cubicBezTo>
                    <a:pt x="456412" y="139148"/>
                    <a:pt x="472104" y="118782"/>
                    <a:pt x="491135" y="113106"/>
                  </a:cubicBezTo>
                  <a:close/>
                  <a:moveTo>
                    <a:pt x="80799" y="212268"/>
                  </a:moveTo>
                  <a:cubicBezTo>
                    <a:pt x="62769" y="212268"/>
                    <a:pt x="55424" y="204588"/>
                    <a:pt x="55424" y="204588"/>
                  </a:cubicBezTo>
                  <a:lnTo>
                    <a:pt x="55424" y="116111"/>
                  </a:lnTo>
                  <a:cubicBezTo>
                    <a:pt x="55424" y="108431"/>
                    <a:pt x="60766" y="103423"/>
                    <a:pt x="69113" y="102422"/>
                  </a:cubicBezTo>
                  <a:cubicBezTo>
                    <a:pt x="77794" y="101420"/>
                    <a:pt x="117859" y="95076"/>
                    <a:pt x="117859" y="154173"/>
                  </a:cubicBezTo>
                  <a:cubicBezTo>
                    <a:pt x="117525" y="209597"/>
                    <a:pt x="93152" y="212268"/>
                    <a:pt x="80799" y="212268"/>
                  </a:cubicBezTo>
                  <a:close/>
                  <a:moveTo>
                    <a:pt x="280792" y="221282"/>
                  </a:moveTo>
                  <a:cubicBezTo>
                    <a:pt x="253748" y="221282"/>
                    <a:pt x="236052" y="208595"/>
                    <a:pt x="236052" y="208595"/>
                  </a:cubicBezTo>
                  <a:lnTo>
                    <a:pt x="236052" y="62022"/>
                  </a:lnTo>
                  <a:cubicBezTo>
                    <a:pt x="236052" y="49669"/>
                    <a:pt x="250409" y="41322"/>
                    <a:pt x="262762" y="39986"/>
                  </a:cubicBezTo>
                  <a:cubicBezTo>
                    <a:pt x="276117" y="38317"/>
                    <a:pt x="337217" y="28968"/>
                    <a:pt x="337217" y="125125"/>
                  </a:cubicBezTo>
                  <a:cubicBezTo>
                    <a:pt x="337217" y="211600"/>
                    <a:pt x="295816" y="221282"/>
                    <a:pt x="280792" y="221282"/>
                  </a:cubicBezTo>
                  <a:close/>
                </a:path>
              </a:pathLst>
            </a:custGeom>
            <a:solidFill>
              <a:srgbClr val="FFFFFF"/>
            </a:solidFill>
            <a:ln w="3303" cap="flat">
              <a:noFill/>
              <a:prstDash val="solid"/>
              <a:miter/>
            </a:ln>
          </p:spPr>
          <p:txBody>
            <a:bodyPr rtlCol="0" anchor="ctr"/>
            <a:lstStyle/>
            <a:p>
              <a:endParaRPr lang="en-US"/>
            </a:p>
          </p:txBody>
        </p:sp>
      </p:grpSp>
    </p:spTree>
    <p:extLst>
      <p:ext uri="{BB962C8B-B14F-4D97-AF65-F5344CB8AC3E}">
        <p14:creationId xmlns:p14="http://schemas.microsoft.com/office/powerpoint/2010/main" val="28268365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22B1DD7-D8BA-4598-A2EA-CFEE91D0E481}"/>
              </a:ext>
            </a:extLst>
          </p:cNvPr>
          <p:cNvSpPr/>
          <p:nvPr/>
        </p:nvSpPr>
        <p:spPr>
          <a:xfrm>
            <a:off x="-1" y="1246693"/>
            <a:ext cx="7588577" cy="16045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1"/>
          </p:nvPr>
        </p:nvSpPr>
        <p:spPr/>
        <p:txBody>
          <a:bodyPr/>
          <a:lstStyle/>
          <a:p>
            <a:fld id="{FD9C4343-C115-504A-8D4F-0B17318D4A48}" type="slidenum">
              <a:rPr lang="en-US" smtClean="0"/>
              <a:pPr/>
              <a:t>7</a:t>
            </a:fld>
            <a:endParaRPr lang="en-US"/>
          </a:p>
        </p:txBody>
      </p:sp>
      <p:sp>
        <p:nvSpPr>
          <p:cNvPr id="5" name="Title 4"/>
          <p:cNvSpPr>
            <a:spLocks noGrp="1"/>
          </p:cNvSpPr>
          <p:nvPr>
            <p:ph type="title"/>
          </p:nvPr>
        </p:nvSpPr>
        <p:spPr>
          <a:xfrm>
            <a:off x="1016551" y="323848"/>
            <a:ext cx="10056211" cy="859536"/>
          </a:xfrm>
        </p:spPr>
        <p:txBody>
          <a:bodyPr/>
          <a:lstStyle/>
          <a:p>
            <a:r>
              <a:rPr lang="en-US"/>
              <a:t>Dry film thickness (DFT)</a:t>
            </a:r>
          </a:p>
        </p:txBody>
      </p:sp>
      <p:pic>
        <p:nvPicPr>
          <p:cNvPr id="3" name="Picture 2">
            <a:extLst>
              <a:ext uri="{FF2B5EF4-FFF2-40B4-BE49-F238E27FC236}">
                <a16:creationId xmlns:a16="http://schemas.microsoft.com/office/drawing/2014/main" id="{55A8D6F6-491E-43DA-A2D0-99B22F26D051}"/>
              </a:ext>
            </a:extLst>
          </p:cNvPr>
          <p:cNvPicPr>
            <a:picLocks noChangeAspect="1"/>
          </p:cNvPicPr>
          <p:nvPr/>
        </p:nvPicPr>
        <p:blipFill>
          <a:blip r:embed="rId3"/>
          <a:stretch/>
        </p:blipFill>
        <p:spPr>
          <a:xfrm rot="20496708">
            <a:off x="6676964" y="524476"/>
            <a:ext cx="1784115" cy="4050496"/>
          </a:xfrm>
          <a:prstGeom prst="rect">
            <a:avLst/>
          </a:prstGeom>
        </p:spPr>
      </p:pic>
      <p:sp>
        <p:nvSpPr>
          <p:cNvPr id="7" name="Content Placeholder 3">
            <a:extLst>
              <a:ext uri="{FF2B5EF4-FFF2-40B4-BE49-F238E27FC236}">
                <a16:creationId xmlns:a16="http://schemas.microsoft.com/office/drawing/2014/main" id="{3D0F8355-1AD2-4DB1-9F83-C1F202B3EEBD}"/>
              </a:ext>
            </a:extLst>
          </p:cNvPr>
          <p:cNvSpPr txBox="1">
            <a:spLocks/>
          </p:cNvSpPr>
          <p:nvPr/>
        </p:nvSpPr>
        <p:spPr>
          <a:xfrm>
            <a:off x="315569" y="1373506"/>
            <a:ext cx="5778843" cy="1405199"/>
          </a:xfrm>
          <a:prstGeom prst="rect">
            <a:avLst/>
          </a:prstGeom>
        </p:spPr>
        <p:txBody>
          <a:bodyPr vert="horz" lIns="0" tIns="0" rIns="0" bIns="0" rtlCol="0" anchor="ctr">
            <a:norm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nSpc>
                <a:spcPct val="90000"/>
              </a:lnSpc>
              <a:spcBef>
                <a:spcPts val="600"/>
              </a:spcBef>
              <a:buNone/>
            </a:pPr>
            <a:r>
              <a:rPr lang="en-US" sz="1800">
                <a:solidFill>
                  <a:schemeClr val="bg2"/>
                </a:solidFill>
              </a:rPr>
              <a:t>It is important that the coating be applied according to the recommended dry film thickness measurement specified by the coating manufacturer. This identifies the amount of coating to be applied and can vary by coating type. It is most commonly measured in microns.</a:t>
            </a:r>
          </a:p>
        </p:txBody>
      </p:sp>
      <p:pic>
        <p:nvPicPr>
          <p:cNvPr id="11" name="Picture 10" descr="A picture containing outdoor, blacktop&#10;&#10;Description automatically generated">
            <a:extLst>
              <a:ext uri="{FF2B5EF4-FFF2-40B4-BE49-F238E27FC236}">
                <a16:creationId xmlns:a16="http://schemas.microsoft.com/office/drawing/2014/main" id="{49FE35FB-5813-4786-9E5E-73EDD3C9D5E8}"/>
              </a:ext>
            </a:extLst>
          </p:cNvPr>
          <p:cNvPicPr>
            <a:picLocks noChangeAspect="1"/>
          </p:cNvPicPr>
          <p:nvPr/>
        </p:nvPicPr>
        <p:blipFill rotWithShape="1">
          <a:blip r:embed="rId4"/>
          <a:srcRect t="8075" r="5485" b="8075"/>
          <a:stretch/>
        </p:blipFill>
        <p:spPr>
          <a:xfrm>
            <a:off x="208279" y="3616620"/>
            <a:ext cx="2766933" cy="1784466"/>
          </a:xfrm>
          <a:prstGeom prst="rect">
            <a:avLst/>
          </a:prstGeom>
        </p:spPr>
      </p:pic>
      <p:pic>
        <p:nvPicPr>
          <p:cNvPr id="13" name="Picture 12" descr="Background pattern&#10;&#10;Description automatically generated">
            <a:extLst>
              <a:ext uri="{FF2B5EF4-FFF2-40B4-BE49-F238E27FC236}">
                <a16:creationId xmlns:a16="http://schemas.microsoft.com/office/drawing/2014/main" id="{F7D29982-851E-4185-8A57-49B33F0E35BC}"/>
              </a:ext>
            </a:extLst>
          </p:cNvPr>
          <p:cNvPicPr>
            <a:picLocks noChangeAspect="1"/>
          </p:cNvPicPr>
          <p:nvPr/>
        </p:nvPicPr>
        <p:blipFill rotWithShape="1">
          <a:blip r:embed="rId5"/>
          <a:srcRect l="23165" t="23165" r="24162" b="33190"/>
          <a:stretch/>
        </p:blipFill>
        <p:spPr>
          <a:xfrm>
            <a:off x="3025150" y="3616620"/>
            <a:ext cx="2766933" cy="1784466"/>
          </a:xfrm>
          <a:prstGeom prst="rect">
            <a:avLst/>
          </a:prstGeom>
        </p:spPr>
      </p:pic>
      <p:pic>
        <p:nvPicPr>
          <p:cNvPr id="15" name="Picture 14" descr="A close-up of a foot&#10;&#10;Description automatically generated with medium confidence">
            <a:extLst>
              <a:ext uri="{FF2B5EF4-FFF2-40B4-BE49-F238E27FC236}">
                <a16:creationId xmlns:a16="http://schemas.microsoft.com/office/drawing/2014/main" id="{EECC64BB-4546-4404-B30F-69F7CEC305D5}"/>
              </a:ext>
            </a:extLst>
          </p:cNvPr>
          <p:cNvPicPr>
            <a:picLocks noChangeAspect="1"/>
          </p:cNvPicPr>
          <p:nvPr/>
        </p:nvPicPr>
        <p:blipFill rotWithShape="1">
          <a:blip r:embed="rId6"/>
          <a:srcRect l="4620" t="19225" r="864" b="11172"/>
          <a:stretch/>
        </p:blipFill>
        <p:spPr>
          <a:xfrm>
            <a:off x="5840631" y="3616620"/>
            <a:ext cx="2766933" cy="1784465"/>
          </a:xfrm>
          <a:prstGeom prst="rect">
            <a:avLst/>
          </a:prstGeom>
        </p:spPr>
      </p:pic>
      <p:pic>
        <p:nvPicPr>
          <p:cNvPr id="17" name="Picture 16" descr="A close-up of a red surface&#10;&#10;Description automatically generated with medium confidence">
            <a:extLst>
              <a:ext uri="{FF2B5EF4-FFF2-40B4-BE49-F238E27FC236}">
                <a16:creationId xmlns:a16="http://schemas.microsoft.com/office/drawing/2014/main" id="{E1A45601-9547-45BC-A24C-902187F0E9FD}"/>
              </a:ext>
            </a:extLst>
          </p:cNvPr>
          <p:cNvPicPr>
            <a:picLocks noChangeAspect="1"/>
          </p:cNvPicPr>
          <p:nvPr/>
        </p:nvPicPr>
        <p:blipFill rotWithShape="1">
          <a:blip r:embed="rId7"/>
          <a:srcRect l="1704" t="8227" b="6348"/>
          <a:stretch/>
        </p:blipFill>
        <p:spPr>
          <a:xfrm>
            <a:off x="8899121" y="3616621"/>
            <a:ext cx="2771260" cy="1784465"/>
          </a:xfrm>
          <a:prstGeom prst="rect">
            <a:avLst/>
          </a:prstGeom>
        </p:spPr>
      </p:pic>
      <p:sp>
        <p:nvSpPr>
          <p:cNvPr id="18" name="Rectangle 17">
            <a:extLst>
              <a:ext uri="{FF2B5EF4-FFF2-40B4-BE49-F238E27FC236}">
                <a16:creationId xmlns:a16="http://schemas.microsoft.com/office/drawing/2014/main" id="{407E8775-1502-458B-BD49-BF6A4AAF66BB}"/>
              </a:ext>
            </a:extLst>
          </p:cNvPr>
          <p:cNvSpPr/>
          <p:nvPr/>
        </p:nvSpPr>
        <p:spPr>
          <a:xfrm>
            <a:off x="205003" y="5361688"/>
            <a:ext cx="2770209" cy="4098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t>Blisters</a:t>
            </a:r>
          </a:p>
        </p:txBody>
      </p:sp>
      <p:sp>
        <p:nvSpPr>
          <p:cNvPr id="19" name="Rectangle 18">
            <a:extLst>
              <a:ext uri="{FF2B5EF4-FFF2-40B4-BE49-F238E27FC236}">
                <a16:creationId xmlns:a16="http://schemas.microsoft.com/office/drawing/2014/main" id="{F5E66905-A3FE-45FD-8BE8-9EF445A78188}"/>
              </a:ext>
            </a:extLst>
          </p:cNvPr>
          <p:cNvSpPr/>
          <p:nvPr/>
        </p:nvSpPr>
        <p:spPr>
          <a:xfrm>
            <a:off x="3023761" y="5361688"/>
            <a:ext cx="2770210" cy="4098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t>Mud-cracking</a:t>
            </a:r>
          </a:p>
        </p:txBody>
      </p:sp>
      <p:sp>
        <p:nvSpPr>
          <p:cNvPr id="20" name="Rectangle 19">
            <a:extLst>
              <a:ext uri="{FF2B5EF4-FFF2-40B4-BE49-F238E27FC236}">
                <a16:creationId xmlns:a16="http://schemas.microsoft.com/office/drawing/2014/main" id="{B03D75AC-A3FE-4CCE-AF11-11974B287AB7}"/>
              </a:ext>
            </a:extLst>
          </p:cNvPr>
          <p:cNvSpPr/>
          <p:nvPr/>
        </p:nvSpPr>
        <p:spPr>
          <a:xfrm>
            <a:off x="5840631" y="5361688"/>
            <a:ext cx="2766933" cy="4098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t>Sagging</a:t>
            </a:r>
          </a:p>
        </p:txBody>
      </p:sp>
      <p:sp>
        <p:nvSpPr>
          <p:cNvPr id="21" name="Rectangle 20">
            <a:extLst>
              <a:ext uri="{FF2B5EF4-FFF2-40B4-BE49-F238E27FC236}">
                <a16:creationId xmlns:a16="http://schemas.microsoft.com/office/drawing/2014/main" id="{65EF97D5-4DCA-4C7B-8E0E-909E96CFD8F3}"/>
              </a:ext>
            </a:extLst>
          </p:cNvPr>
          <p:cNvSpPr/>
          <p:nvPr/>
        </p:nvSpPr>
        <p:spPr>
          <a:xfrm>
            <a:off x="8899121" y="5361688"/>
            <a:ext cx="2771260" cy="4098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t>Hazing</a:t>
            </a:r>
          </a:p>
        </p:txBody>
      </p:sp>
      <p:sp>
        <p:nvSpPr>
          <p:cNvPr id="23" name="TextBox 22">
            <a:extLst>
              <a:ext uri="{FF2B5EF4-FFF2-40B4-BE49-F238E27FC236}">
                <a16:creationId xmlns:a16="http://schemas.microsoft.com/office/drawing/2014/main" id="{257F812B-079B-4C92-B7DE-6E53A1B0AA0A}"/>
              </a:ext>
            </a:extLst>
          </p:cNvPr>
          <p:cNvSpPr txBox="1"/>
          <p:nvPr/>
        </p:nvSpPr>
        <p:spPr>
          <a:xfrm>
            <a:off x="3266769" y="3160364"/>
            <a:ext cx="2040522" cy="400110"/>
          </a:xfrm>
          <a:prstGeom prst="rect">
            <a:avLst/>
          </a:prstGeom>
          <a:noFill/>
        </p:spPr>
        <p:txBody>
          <a:bodyPr wrap="square">
            <a:spAutoFit/>
          </a:bodyPr>
          <a:lstStyle/>
          <a:p>
            <a:pPr algn="ctr"/>
            <a:r>
              <a:rPr lang="en-US" sz="2000" b="1">
                <a:solidFill>
                  <a:schemeClr val="accent1"/>
                </a:solidFill>
              </a:rPr>
              <a:t>If too thick</a:t>
            </a:r>
          </a:p>
        </p:txBody>
      </p:sp>
      <p:cxnSp>
        <p:nvCxnSpPr>
          <p:cNvPr id="27" name="Straight Connector 26">
            <a:extLst>
              <a:ext uri="{FF2B5EF4-FFF2-40B4-BE49-F238E27FC236}">
                <a16:creationId xmlns:a16="http://schemas.microsoft.com/office/drawing/2014/main" id="{2495041E-17DD-4244-852B-CCD5F17E2649}"/>
              </a:ext>
            </a:extLst>
          </p:cNvPr>
          <p:cNvCxnSpPr/>
          <p:nvPr/>
        </p:nvCxnSpPr>
        <p:spPr>
          <a:xfrm>
            <a:off x="208279" y="3544109"/>
            <a:ext cx="8399285"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C3EC2EB8-9F5E-4C78-83F9-327F9D9E7433}"/>
              </a:ext>
            </a:extLst>
          </p:cNvPr>
          <p:cNvSpPr txBox="1"/>
          <p:nvPr/>
        </p:nvSpPr>
        <p:spPr>
          <a:xfrm>
            <a:off x="9345960" y="3160364"/>
            <a:ext cx="1763317" cy="400110"/>
          </a:xfrm>
          <a:prstGeom prst="rect">
            <a:avLst/>
          </a:prstGeom>
          <a:noFill/>
        </p:spPr>
        <p:txBody>
          <a:bodyPr wrap="square">
            <a:spAutoFit/>
          </a:bodyPr>
          <a:lstStyle/>
          <a:p>
            <a:pPr algn="ctr"/>
            <a:r>
              <a:rPr lang="en-US" sz="2000" b="1">
                <a:solidFill>
                  <a:schemeClr val="accent1"/>
                </a:solidFill>
              </a:rPr>
              <a:t>If too thin</a:t>
            </a:r>
          </a:p>
        </p:txBody>
      </p:sp>
      <p:cxnSp>
        <p:nvCxnSpPr>
          <p:cNvPr id="29" name="Straight Connector 28">
            <a:extLst>
              <a:ext uri="{FF2B5EF4-FFF2-40B4-BE49-F238E27FC236}">
                <a16:creationId xmlns:a16="http://schemas.microsoft.com/office/drawing/2014/main" id="{BC92A147-3C54-4C64-B00D-B9ECF544099F}"/>
              </a:ext>
            </a:extLst>
          </p:cNvPr>
          <p:cNvCxnSpPr>
            <a:cxnSpLocks/>
          </p:cNvCxnSpPr>
          <p:nvPr/>
        </p:nvCxnSpPr>
        <p:spPr>
          <a:xfrm>
            <a:off x="8908389" y="3544109"/>
            <a:ext cx="2752723"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1" name="Rectangle 30">
            <a:extLst>
              <a:ext uri="{FF2B5EF4-FFF2-40B4-BE49-F238E27FC236}">
                <a16:creationId xmlns:a16="http://schemas.microsoft.com/office/drawing/2014/main" id="{A045A28A-B8AE-4B86-AABE-359B6B865524}"/>
              </a:ext>
            </a:extLst>
          </p:cNvPr>
          <p:cNvSpPr/>
          <p:nvPr/>
        </p:nvSpPr>
        <p:spPr>
          <a:xfrm>
            <a:off x="11109278" y="6066430"/>
            <a:ext cx="1079547" cy="7915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Content Placeholder 3">
            <a:extLst>
              <a:ext uri="{FF2B5EF4-FFF2-40B4-BE49-F238E27FC236}">
                <a16:creationId xmlns:a16="http://schemas.microsoft.com/office/drawing/2014/main" id="{B0DA64DC-FAD7-4C7E-BAFA-EEBB696A99CB}"/>
              </a:ext>
            </a:extLst>
          </p:cNvPr>
          <p:cNvSpPr txBox="1">
            <a:spLocks/>
          </p:cNvSpPr>
          <p:nvPr/>
        </p:nvSpPr>
        <p:spPr>
          <a:xfrm>
            <a:off x="8908389" y="5851921"/>
            <a:ext cx="3011192" cy="696977"/>
          </a:xfrm>
          <a:prstGeom prst="rect">
            <a:avLst/>
          </a:prstGeom>
        </p:spPr>
        <p:txBody>
          <a:bodyPr vert="horz" lIns="0" tIns="0" rIns="0" bIns="0" rtlCol="0">
            <a:noAutofit/>
          </a:bodyPr>
          <a:lstStyle>
            <a:lvl1pPr marL="233363" indent="-233363" algn="l" defTabSz="457200" rtl="0" eaLnBrk="1" latinLnBrk="0" hangingPunct="1">
              <a:spcBef>
                <a:spcPts val="528"/>
              </a:spcBef>
              <a:spcAft>
                <a:spcPts val="0"/>
              </a:spcAft>
              <a:buClr>
                <a:schemeClr val="accent1"/>
              </a:buClr>
              <a:buFont typeface="Arial" panose="020B0604020202020204" pitchFamily="34" charset="0"/>
              <a:buChar char="•"/>
              <a:defRPr sz="2400" b="0" kern="1200">
                <a:solidFill>
                  <a:schemeClr val="tx1"/>
                </a:solidFill>
                <a:latin typeface="+mn-lt"/>
                <a:ea typeface="+mn-ea"/>
                <a:cs typeface="Arial"/>
              </a:defRPr>
            </a:lvl1pPr>
            <a:lvl2pPr marL="339725" indent="-169863" algn="l" defTabSz="457200" rtl="0" eaLnBrk="1" latinLnBrk="0" hangingPunct="1">
              <a:spcBef>
                <a:spcPts val="528"/>
              </a:spcBef>
              <a:spcAft>
                <a:spcPts val="0"/>
              </a:spcAft>
              <a:buClr>
                <a:schemeClr val="accent1"/>
              </a:buClr>
              <a:buFont typeface="Arial"/>
              <a:buChar char="•"/>
              <a:defRPr sz="2200" b="0" i="0" kern="1200">
                <a:solidFill>
                  <a:schemeClr val="tx1"/>
                </a:solidFill>
                <a:latin typeface="Arial"/>
                <a:ea typeface="+mn-ea"/>
                <a:cs typeface="Arial"/>
              </a:defRPr>
            </a:lvl2pPr>
            <a:lvl3pPr marL="509588" indent="-169863" algn="l" defTabSz="457200" rtl="0" eaLnBrk="1" latinLnBrk="0" hangingPunct="1">
              <a:spcBef>
                <a:spcPts val="528"/>
              </a:spcBef>
              <a:spcAft>
                <a:spcPts val="0"/>
              </a:spcAft>
              <a:buClr>
                <a:schemeClr val="accent1"/>
              </a:buClr>
              <a:buFont typeface="Arial"/>
              <a:buChar char="•"/>
              <a:tabLst/>
              <a:defRPr sz="2000" kern="1200">
                <a:solidFill>
                  <a:schemeClr val="tx1"/>
                </a:solidFill>
                <a:latin typeface="+mn-lt"/>
                <a:ea typeface="+mn-ea"/>
                <a:cs typeface="Arial"/>
              </a:defRPr>
            </a:lvl3pPr>
            <a:lvl4pPr marL="690563" indent="-180975" algn="l" defTabSz="457200" rtl="0" eaLnBrk="1" latinLnBrk="0" hangingPunct="1">
              <a:spcBef>
                <a:spcPts val="528"/>
              </a:spcBef>
              <a:spcAft>
                <a:spcPts val="0"/>
              </a:spcAft>
              <a:buClr>
                <a:schemeClr val="accent1"/>
              </a:buClr>
              <a:buFont typeface="Arial"/>
              <a:buChar char="•"/>
              <a:tabLst/>
              <a:defRPr sz="1800" kern="1200">
                <a:solidFill>
                  <a:schemeClr val="tx1"/>
                </a:solidFill>
                <a:latin typeface="+mn-lt"/>
                <a:ea typeface="+mn-ea"/>
                <a:cs typeface="Arial"/>
              </a:defRPr>
            </a:lvl4pPr>
            <a:lvl5pPr marL="857250" indent="-166688" algn="l" defTabSz="457200" rtl="0" eaLnBrk="1" latinLnBrk="0" hangingPunct="1">
              <a:spcBef>
                <a:spcPts val="528"/>
              </a:spcBef>
              <a:spcAft>
                <a:spcPts val="0"/>
              </a:spcAft>
              <a:buClr>
                <a:schemeClr val="accent1"/>
              </a:buClr>
              <a:buFont typeface="Arial"/>
              <a:buChar char="•"/>
              <a:defRPr sz="1600" kern="1200">
                <a:solidFill>
                  <a:schemeClr val="tx1"/>
                </a:solidFill>
                <a:latin typeface="+mn-lt"/>
                <a:ea typeface="+mn-ea"/>
                <a:cs typeface="Arial"/>
              </a:defRPr>
            </a:lvl5pPr>
            <a:lvl6pPr marL="800100" indent="-114300" algn="l" defTabSz="457200" rtl="0" eaLnBrk="1" latinLnBrk="0" hangingPunct="1">
              <a:spcBef>
                <a:spcPts val="528"/>
              </a:spcBef>
              <a:spcAft>
                <a:spcPts val="0"/>
              </a:spcAft>
              <a:buClr>
                <a:schemeClr val="accent1"/>
              </a:buClr>
              <a:buSzPct val="100000"/>
              <a:buFont typeface="Arial"/>
              <a:buChar char="•"/>
              <a:tabLst/>
              <a:defRPr sz="1400" kern="1200">
                <a:solidFill>
                  <a:schemeClr val="tx1"/>
                </a:solidFill>
                <a:latin typeface="+mn-lt"/>
                <a:ea typeface="+mn-ea"/>
                <a:cs typeface="+mn-cs"/>
              </a:defRPr>
            </a:lvl6pPr>
            <a:lvl7pPr marL="915988" indent="-115888" algn="l" defTabSz="457200" rtl="0" eaLnBrk="1" latinLnBrk="0" hangingPunct="1">
              <a:spcBef>
                <a:spcPts val="528"/>
              </a:spcBef>
              <a:spcAft>
                <a:spcPts val="0"/>
              </a:spcAft>
              <a:buClr>
                <a:schemeClr val="accent1"/>
              </a:buClr>
              <a:buFont typeface="Arial"/>
              <a:buChar char="•"/>
              <a:defRPr sz="1200" kern="1200">
                <a:solidFill>
                  <a:schemeClr val="tx1"/>
                </a:solidFill>
                <a:latin typeface="+mn-lt"/>
                <a:ea typeface="+mn-ea"/>
                <a:cs typeface="+mn-cs"/>
              </a:defRPr>
            </a:lvl7pPr>
            <a:lvl8pPr marL="1030288" indent="-114300"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8pPr>
            <a:lvl9pPr marL="1198563" indent="-106363" algn="l" defTabSz="457200" rtl="0" eaLnBrk="1" latinLnBrk="0" hangingPunct="1">
              <a:spcBef>
                <a:spcPct val="20000"/>
              </a:spcBef>
              <a:buClr>
                <a:schemeClr val="accent1"/>
              </a:buClr>
              <a:buFont typeface="Arial"/>
              <a:buChar char="•"/>
              <a:defRPr sz="1050" kern="1200" baseline="0">
                <a:solidFill>
                  <a:schemeClr val="tx1"/>
                </a:solidFill>
                <a:latin typeface="+mn-lt"/>
                <a:ea typeface="+mn-ea"/>
                <a:cs typeface="+mn-cs"/>
              </a:defRPr>
            </a:lvl9pPr>
          </a:lstStyle>
          <a:p>
            <a:pPr marL="0" indent="0">
              <a:lnSpc>
                <a:spcPct val="90000"/>
              </a:lnSpc>
              <a:spcBef>
                <a:spcPts val="600"/>
              </a:spcBef>
              <a:buNone/>
            </a:pPr>
            <a:r>
              <a:rPr lang="en-US" sz="1400"/>
              <a:t>…and </a:t>
            </a:r>
            <a:r>
              <a:rPr lang="en-US" sz="1400" u="sng"/>
              <a:t>low gloss </a:t>
            </a:r>
            <a:r>
              <a:rPr lang="en-US" sz="1400"/>
              <a:t>will be apparent, </a:t>
            </a:r>
            <a:br>
              <a:rPr lang="en-US" sz="1400"/>
            </a:br>
            <a:r>
              <a:rPr lang="en-US" sz="1400"/>
              <a:t>as well as other performance issues, such as reduced life of the coating. </a:t>
            </a:r>
          </a:p>
        </p:txBody>
      </p:sp>
      <p:grpSp>
        <p:nvGrpSpPr>
          <p:cNvPr id="32" name="Group 31">
            <a:extLst>
              <a:ext uri="{FF2B5EF4-FFF2-40B4-BE49-F238E27FC236}">
                <a16:creationId xmlns:a16="http://schemas.microsoft.com/office/drawing/2014/main" id="{0923D431-A9BE-4283-8B79-9480B68A8C45}"/>
              </a:ext>
            </a:extLst>
          </p:cNvPr>
          <p:cNvGrpSpPr/>
          <p:nvPr/>
        </p:nvGrpSpPr>
        <p:grpSpPr>
          <a:xfrm>
            <a:off x="135108" y="232406"/>
            <a:ext cx="721039" cy="721033"/>
            <a:chOff x="6580706" y="1735325"/>
            <a:chExt cx="2757179" cy="2757157"/>
          </a:xfrm>
        </p:grpSpPr>
        <p:sp>
          <p:nvSpPr>
            <p:cNvPr id="33" name="Freeform: Shape 32">
              <a:extLst>
                <a:ext uri="{FF2B5EF4-FFF2-40B4-BE49-F238E27FC236}">
                  <a16:creationId xmlns:a16="http://schemas.microsoft.com/office/drawing/2014/main" id="{C20E4B50-8310-4E82-B634-4BACD0534403}"/>
                </a:ext>
              </a:extLst>
            </p:cNvPr>
            <p:cNvSpPr/>
            <p:nvPr/>
          </p:nvSpPr>
          <p:spPr>
            <a:xfrm>
              <a:off x="7270770" y="3113785"/>
              <a:ext cx="2066925" cy="1378697"/>
            </a:xfrm>
            <a:custGeom>
              <a:avLst/>
              <a:gdLst>
                <a:gd name="connsiteX0" fmla="*/ -244 w 2066925"/>
                <a:gd name="connsiteY0" fmla="*/ 1194306 h 1378697"/>
                <a:gd name="connsiteX1" fmla="*/ 1882649 w 2066925"/>
                <a:gd name="connsiteY1" fmla="*/ 687776 h 1378697"/>
                <a:gd name="connsiteX2" fmla="*/ 2066682 w 2066925"/>
                <a:gd name="connsiteY2" fmla="*/ -129 h 1378697"/>
                <a:gd name="connsiteX3" fmla="*/ 688414 w 2066925"/>
                <a:gd name="connsiteY3" fmla="*/ -129 h 1378697"/>
              </a:gdLst>
              <a:ahLst/>
              <a:cxnLst>
                <a:cxn ang="0">
                  <a:pos x="connsiteX0" y="connsiteY0"/>
                </a:cxn>
                <a:cxn ang="0">
                  <a:pos x="connsiteX1" y="connsiteY1"/>
                </a:cxn>
                <a:cxn ang="0">
                  <a:pos x="connsiteX2" y="connsiteY2"/>
                </a:cxn>
                <a:cxn ang="0">
                  <a:pos x="connsiteX3" y="connsiteY3"/>
                </a:cxn>
              </a:cxnLst>
              <a:rect l="l" t="t" r="r" b="b"/>
              <a:pathLst>
                <a:path w="2066925" h="1378697">
                  <a:moveTo>
                    <a:pt x="-244" y="1194306"/>
                  </a:moveTo>
                  <a:cubicBezTo>
                    <a:pt x="659582" y="1574382"/>
                    <a:pt x="1502583" y="1347592"/>
                    <a:pt x="1882649" y="687776"/>
                  </a:cubicBezTo>
                  <a:cubicBezTo>
                    <a:pt x="2003169" y="478540"/>
                    <a:pt x="2066634" y="241330"/>
                    <a:pt x="2066682" y="-129"/>
                  </a:cubicBezTo>
                  <a:lnTo>
                    <a:pt x="688414" y="-129"/>
                  </a:lnTo>
                  <a:close/>
                </a:path>
              </a:pathLst>
            </a:custGeom>
            <a:solidFill>
              <a:schemeClr val="accent4"/>
            </a:solidFill>
            <a:ln w="28575" cap="flat">
              <a:solidFill>
                <a:schemeClr val="bg1"/>
              </a:solid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07C42CB9-07D6-4255-A16B-AE36B04499FE}"/>
                </a:ext>
              </a:extLst>
            </p:cNvPr>
            <p:cNvSpPr/>
            <p:nvPr/>
          </p:nvSpPr>
          <p:spPr>
            <a:xfrm>
              <a:off x="6580706" y="1920017"/>
              <a:ext cx="1378721" cy="2388203"/>
            </a:xfrm>
            <a:custGeom>
              <a:avLst/>
              <a:gdLst>
                <a:gd name="connsiteX0" fmla="*/ 688772 w 1378721"/>
                <a:gd name="connsiteY0" fmla="*/ -129 h 2388203"/>
                <a:gd name="connsiteX1" fmla="*/ 185119 w 1378721"/>
                <a:gd name="connsiteY1" fmla="*/ 1883821 h 2388203"/>
                <a:gd name="connsiteX2" fmla="*/ 689820 w 1378721"/>
                <a:gd name="connsiteY2" fmla="*/ 2388074 h 2388203"/>
                <a:gd name="connsiteX3" fmla="*/ 1378478 w 1378721"/>
                <a:gd name="connsiteY3" fmla="*/ 1193639 h 2388203"/>
              </a:gdLst>
              <a:ahLst/>
              <a:cxnLst>
                <a:cxn ang="0">
                  <a:pos x="connsiteX0" y="connsiteY0"/>
                </a:cxn>
                <a:cxn ang="0">
                  <a:pos x="connsiteX1" y="connsiteY1"/>
                </a:cxn>
                <a:cxn ang="0">
                  <a:pos x="connsiteX2" y="connsiteY2"/>
                </a:cxn>
                <a:cxn ang="0">
                  <a:pos x="connsiteX3" y="connsiteY3"/>
                </a:cxn>
              </a:cxnLst>
              <a:rect l="l" t="t" r="r" b="b"/>
              <a:pathLst>
                <a:path w="1378721" h="2388203">
                  <a:moveTo>
                    <a:pt x="688772" y="-129"/>
                  </a:moveTo>
                  <a:cubicBezTo>
                    <a:pt x="29452" y="381033"/>
                    <a:pt x="-196033" y="1224500"/>
                    <a:pt x="185119" y="1883821"/>
                  </a:cubicBezTo>
                  <a:cubicBezTo>
                    <a:pt x="306201" y="2093266"/>
                    <a:pt x="480261" y="2267173"/>
                    <a:pt x="689820" y="2388074"/>
                  </a:cubicBezTo>
                  <a:lnTo>
                    <a:pt x="1378478" y="1193639"/>
                  </a:lnTo>
                  <a:close/>
                </a:path>
              </a:pathLst>
            </a:custGeom>
            <a:solidFill>
              <a:schemeClr val="bg2">
                <a:lumMod val="85000"/>
              </a:schemeClr>
            </a:solidFill>
            <a:ln w="28575" cap="flat">
              <a:solidFill>
                <a:schemeClr val="bg1"/>
              </a:solid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72A1AD2C-D0BE-416D-B1C2-5305279B8C4D}"/>
                </a:ext>
              </a:extLst>
            </p:cNvPr>
            <p:cNvSpPr/>
            <p:nvPr/>
          </p:nvSpPr>
          <p:spPr>
            <a:xfrm>
              <a:off x="7269722" y="1735325"/>
              <a:ext cx="2068163" cy="1378459"/>
            </a:xfrm>
            <a:custGeom>
              <a:avLst/>
              <a:gdLst>
                <a:gd name="connsiteX0" fmla="*/ 689462 w 2068163"/>
                <a:gd name="connsiteY0" fmla="*/ -128 h 1378459"/>
                <a:gd name="connsiteX1" fmla="*/ -244 w 2068163"/>
                <a:gd name="connsiteY1" fmla="*/ 184562 h 1378459"/>
                <a:gd name="connsiteX2" fmla="*/ 689462 w 2068163"/>
                <a:gd name="connsiteY2" fmla="*/ 1378330 h 1378459"/>
                <a:gd name="connsiteX3" fmla="*/ 2067920 w 2068163"/>
                <a:gd name="connsiteY3" fmla="*/ 1378330 h 1378459"/>
                <a:gd name="connsiteX4" fmla="*/ 689462 w 2068163"/>
                <a:gd name="connsiteY4" fmla="*/ -128 h 137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8163" h="1378459">
                  <a:moveTo>
                    <a:pt x="689462" y="-128"/>
                  </a:moveTo>
                  <a:cubicBezTo>
                    <a:pt x="447289" y="-499"/>
                    <a:pt x="209335" y="63223"/>
                    <a:pt x="-244" y="184562"/>
                  </a:cubicBezTo>
                  <a:lnTo>
                    <a:pt x="689462" y="1378330"/>
                  </a:lnTo>
                  <a:lnTo>
                    <a:pt x="2067920" y="1378330"/>
                  </a:lnTo>
                  <a:cubicBezTo>
                    <a:pt x="2067920" y="617026"/>
                    <a:pt x="1450767" y="-128"/>
                    <a:pt x="689462" y="-128"/>
                  </a:cubicBezTo>
                  <a:close/>
                </a:path>
              </a:pathLst>
            </a:custGeom>
            <a:solidFill>
              <a:schemeClr val="bg2">
                <a:lumMod val="85000"/>
              </a:schemeClr>
            </a:solidFill>
            <a:ln w="28575" cap="flat">
              <a:solidFill>
                <a:schemeClr val="bg1"/>
              </a:solidFill>
              <a:prstDash val="solid"/>
              <a:miter/>
            </a:ln>
          </p:spPr>
          <p:txBody>
            <a:bodyPr rtlCol="0" anchor="ctr"/>
            <a:lstStyle/>
            <a:p>
              <a:endParaRPr lang="en-US"/>
            </a:p>
          </p:txBody>
        </p:sp>
      </p:grpSp>
    </p:spTree>
    <p:extLst>
      <p:ext uri="{BB962C8B-B14F-4D97-AF65-F5344CB8AC3E}">
        <p14:creationId xmlns:p14="http://schemas.microsoft.com/office/powerpoint/2010/main" val="35060527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FD9C4343-C115-504A-8D4F-0B17318D4A48}" type="slidenum">
              <a:rPr lang="en-US" smtClean="0"/>
              <a:pPr/>
              <a:t>8</a:t>
            </a:fld>
            <a:endParaRPr lang="en-US"/>
          </a:p>
        </p:txBody>
      </p:sp>
      <p:sp>
        <p:nvSpPr>
          <p:cNvPr id="4" name="Content Placeholder 3"/>
          <p:cNvSpPr>
            <a:spLocks noGrp="1"/>
          </p:cNvSpPr>
          <p:nvPr>
            <p:ph idx="1"/>
          </p:nvPr>
        </p:nvSpPr>
        <p:spPr>
          <a:xfrm>
            <a:off x="328664" y="1132859"/>
            <a:ext cx="3247049" cy="859536"/>
          </a:xfrm>
        </p:spPr>
        <p:txBody>
          <a:bodyPr>
            <a:noAutofit/>
          </a:bodyPr>
          <a:lstStyle/>
          <a:p>
            <a:pPr marL="0" indent="0">
              <a:lnSpc>
                <a:spcPct val="90000"/>
              </a:lnSpc>
              <a:spcBef>
                <a:spcPts val="600"/>
              </a:spcBef>
              <a:buNone/>
              <a:defRPr/>
            </a:pPr>
            <a:r>
              <a:rPr lang="en-GB" sz="1799" b="1">
                <a:solidFill>
                  <a:schemeClr val="accent1"/>
                </a:solidFill>
                <a:cs typeface="Vrinda" pitchFamily="2" charset="0"/>
              </a:rPr>
              <a:t>The curing of the PTFE coatings is an important process:</a:t>
            </a:r>
          </a:p>
        </p:txBody>
      </p:sp>
      <p:sp>
        <p:nvSpPr>
          <p:cNvPr id="5" name="Title 4"/>
          <p:cNvSpPr>
            <a:spLocks noGrp="1"/>
          </p:cNvSpPr>
          <p:nvPr>
            <p:ph type="title"/>
          </p:nvPr>
        </p:nvSpPr>
        <p:spPr>
          <a:xfrm>
            <a:off x="989013" y="323848"/>
            <a:ext cx="10991532" cy="859536"/>
          </a:xfrm>
        </p:spPr>
        <p:txBody>
          <a:bodyPr/>
          <a:lstStyle/>
          <a:p>
            <a:r>
              <a:rPr lang="en-US"/>
              <a:t>The curing step</a:t>
            </a:r>
          </a:p>
        </p:txBody>
      </p:sp>
      <p:grpSp>
        <p:nvGrpSpPr>
          <p:cNvPr id="2" name="Group 1">
            <a:extLst>
              <a:ext uri="{FF2B5EF4-FFF2-40B4-BE49-F238E27FC236}">
                <a16:creationId xmlns:a16="http://schemas.microsoft.com/office/drawing/2014/main" id="{9A427F01-0B59-4CFA-8BC6-8F11970571D4}"/>
              </a:ext>
            </a:extLst>
          </p:cNvPr>
          <p:cNvGrpSpPr/>
          <p:nvPr/>
        </p:nvGrpSpPr>
        <p:grpSpPr>
          <a:xfrm>
            <a:off x="4718886" y="2810858"/>
            <a:ext cx="6720094" cy="3659373"/>
            <a:chOff x="4558458" y="461565"/>
            <a:chExt cx="5515821" cy="3987616"/>
          </a:xfrm>
        </p:grpSpPr>
        <p:grpSp>
          <p:nvGrpSpPr>
            <p:cNvPr id="9" name="Group 8">
              <a:extLst>
                <a:ext uri="{FF2B5EF4-FFF2-40B4-BE49-F238E27FC236}">
                  <a16:creationId xmlns:a16="http://schemas.microsoft.com/office/drawing/2014/main" id="{CCD0206E-351F-4C06-AF68-C25C7D79F35C}"/>
                </a:ext>
              </a:extLst>
            </p:cNvPr>
            <p:cNvGrpSpPr/>
            <p:nvPr/>
          </p:nvGrpSpPr>
          <p:grpSpPr>
            <a:xfrm>
              <a:off x="5173753" y="461565"/>
              <a:ext cx="4900526" cy="3465555"/>
              <a:chOff x="3694111" y="1550215"/>
              <a:chExt cx="4900526" cy="3465555"/>
            </a:xfrm>
          </p:grpSpPr>
          <p:grpSp>
            <p:nvGrpSpPr>
              <p:cNvPr id="10" name="Group 9">
                <a:extLst>
                  <a:ext uri="{FF2B5EF4-FFF2-40B4-BE49-F238E27FC236}">
                    <a16:creationId xmlns:a16="http://schemas.microsoft.com/office/drawing/2014/main" id="{3CD7CD26-E9E3-42AE-ADAA-045D7FA2E4CA}"/>
                  </a:ext>
                </a:extLst>
              </p:cNvPr>
              <p:cNvGrpSpPr/>
              <p:nvPr/>
            </p:nvGrpSpPr>
            <p:grpSpPr>
              <a:xfrm>
                <a:off x="3694112" y="1550215"/>
                <a:ext cx="4900525" cy="3465555"/>
                <a:chOff x="3694112" y="1550215"/>
                <a:chExt cx="4900525" cy="3465555"/>
              </a:xfrm>
            </p:grpSpPr>
            <p:sp>
              <p:nvSpPr>
                <p:cNvPr id="12" name="Freeform: Shape 11">
                  <a:extLst>
                    <a:ext uri="{FF2B5EF4-FFF2-40B4-BE49-F238E27FC236}">
                      <a16:creationId xmlns:a16="http://schemas.microsoft.com/office/drawing/2014/main" id="{47BBDBF7-4DAC-467F-9B13-5D8DBD1BBAD3}"/>
                    </a:ext>
                  </a:extLst>
                </p:cNvPr>
                <p:cNvSpPr/>
                <p:nvPr/>
              </p:nvSpPr>
              <p:spPr>
                <a:xfrm>
                  <a:off x="3694112" y="1550215"/>
                  <a:ext cx="4900525" cy="3465555"/>
                </a:xfrm>
                <a:custGeom>
                  <a:avLst/>
                  <a:gdLst>
                    <a:gd name="connsiteX0" fmla="*/ 0 w 4800981"/>
                    <a:gd name="connsiteY0" fmla="*/ 0 h 3184588"/>
                    <a:gd name="connsiteX1" fmla="*/ 0 w 4800981"/>
                    <a:gd name="connsiteY1" fmla="*/ 3184589 h 3184588"/>
                    <a:gd name="connsiteX2" fmla="*/ 4800981 w 4800981"/>
                    <a:gd name="connsiteY2" fmla="*/ 3184589 h 3184588"/>
                  </a:gdLst>
                  <a:ahLst/>
                  <a:cxnLst>
                    <a:cxn ang="0">
                      <a:pos x="connsiteX0" y="connsiteY0"/>
                    </a:cxn>
                    <a:cxn ang="0">
                      <a:pos x="connsiteX1" y="connsiteY1"/>
                    </a:cxn>
                    <a:cxn ang="0">
                      <a:pos x="connsiteX2" y="connsiteY2"/>
                    </a:cxn>
                  </a:cxnLst>
                  <a:rect l="l" t="t" r="r" b="b"/>
                  <a:pathLst>
                    <a:path w="4800981" h="3184588">
                      <a:moveTo>
                        <a:pt x="0" y="0"/>
                      </a:moveTo>
                      <a:lnTo>
                        <a:pt x="0" y="3184589"/>
                      </a:lnTo>
                      <a:lnTo>
                        <a:pt x="4800981" y="3184589"/>
                      </a:lnTo>
                    </a:path>
                  </a:pathLst>
                </a:custGeom>
                <a:noFill/>
                <a:ln w="38100" cap="flat">
                  <a:solidFill>
                    <a:schemeClr val="tx2"/>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6CA0C2E-4F10-4BDF-B4EA-0E89C8307004}"/>
                    </a:ext>
                  </a:extLst>
                </p:cNvPr>
                <p:cNvSpPr/>
                <p:nvPr/>
              </p:nvSpPr>
              <p:spPr>
                <a:xfrm>
                  <a:off x="3694112" y="1831181"/>
                  <a:ext cx="4800981" cy="9525"/>
                </a:xfrm>
                <a:custGeom>
                  <a:avLst/>
                  <a:gdLst>
                    <a:gd name="connsiteX0" fmla="*/ 0 w 4800981"/>
                    <a:gd name="connsiteY0" fmla="*/ 0 h 9525"/>
                    <a:gd name="connsiteX1" fmla="*/ 4800981 w 4800981"/>
                    <a:gd name="connsiteY1" fmla="*/ 0 h 9525"/>
                  </a:gdLst>
                  <a:ahLst/>
                  <a:cxnLst>
                    <a:cxn ang="0">
                      <a:pos x="connsiteX0" y="connsiteY0"/>
                    </a:cxn>
                    <a:cxn ang="0">
                      <a:pos x="connsiteX1" y="connsiteY1"/>
                    </a:cxn>
                  </a:cxnLst>
                  <a:rect l="l" t="t" r="r" b="b"/>
                  <a:pathLst>
                    <a:path w="4800981" h="9525">
                      <a:moveTo>
                        <a:pt x="0" y="0"/>
                      </a:moveTo>
                      <a:lnTo>
                        <a:pt x="4800981" y="0"/>
                      </a:lnTo>
                    </a:path>
                  </a:pathLst>
                </a:custGeom>
                <a:ln w="4763" cap="flat">
                  <a:solidFill>
                    <a:schemeClr val="tx2"/>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89C82F4F-F1E9-4FC5-9246-B39FA594B740}"/>
                    </a:ext>
                  </a:extLst>
                </p:cNvPr>
                <p:cNvSpPr/>
                <p:nvPr/>
              </p:nvSpPr>
              <p:spPr>
                <a:xfrm>
                  <a:off x="3694112" y="2149697"/>
                  <a:ext cx="4800981" cy="9525"/>
                </a:xfrm>
                <a:custGeom>
                  <a:avLst/>
                  <a:gdLst>
                    <a:gd name="connsiteX0" fmla="*/ 0 w 4800981"/>
                    <a:gd name="connsiteY0" fmla="*/ 0 h 9525"/>
                    <a:gd name="connsiteX1" fmla="*/ 4800981 w 4800981"/>
                    <a:gd name="connsiteY1" fmla="*/ 0 h 9525"/>
                  </a:gdLst>
                  <a:ahLst/>
                  <a:cxnLst>
                    <a:cxn ang="0">
                      <a:pos x="connsiteX0" y="connsiteY0"/>
                    </a:cxn>
                    <a:cxn ang="0">
                      <a:pos x="connsiteX1" y="connsiteY1"/>
                    </a:cxn>
                  </a:cxnLst>
                  <a:rect l="l" t="t" r="r" b="b"/>
                  <a:pathLst>
                    <a:path w="4800981" h="9525">
                      <a:moveTo>
                        <a:pt x="0" y="0"/>
                      </a:moveTo>
                      <a:lnTo>
                        <a:pt x="4800981" y="0"/>
                      </a:lnTo>
                    </a:path>
                  </a:pathLst>
                </a:custGeom>
                <a:ln w="4763" cap="flat">
                  <a:solidFill>
                    <a:schemeClr val="tx2"/>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49645CAF-7938-4AE7-AF34-00D43E3FEE1A}"/>
                    </a:ext>
                  </a:extLst>
                </p:cNvPr>
                <p:cNvSpPr/>
                <p:nvPr/>
              </p:nvSpPr>
              <p:spPr>
                <a:xfrm>
                  <a:off x="3694112" y="2468213"/>
                  <a:ext cx="4800981" cy="9525"/>
                </a:xfrm>
                <a:custGeom>
                  <a:avLst/>
                  <a:gdLst>
                    <a:gd name="connsiteX0" fmla="*/ 0 w 4800981"/>
                    <a:gd name="connsiteY0" fmla="*/ 0 h 9525"/>
                    <a:gd name="connsiteX1" fmla="*/ 4800981 w 4800981"/>
                    <a:gd name="connsiteY1" fmla="*/ 0 h 9525"/>
                  </a:gdLst>
                  <a:ahLst/>
                  <a:cxnLst>
                    <a:cxn ang="0">
                      <a:pos x="connsiteX0" y="connsiteY0"/>
                    </a:cxn>
                    <a:cxn ang="0">
                      <a:pos x="connsiteX1" y="connsiteY1"/>
                    </a:cxn>
                  </a:cxnLst>
                  <a:rect l="l" t="t" r="r" b="b"/>
                  <a:pathLst>
                    <a:path w="4800981" h="9525">
                      <a:moveTo>
                        <a:pt x="0" y="0"/>
                      </a:moveTo>
                      <a:lnTo>
                        <a:pt x="4800981" y="0"/>
                      </a:lnTo>
                    </a:path>
                  </a:pathLst>
                </a:custGeom>
                <a:ln w="4763" cap="flat">
                  <a:solidFill>
                    <a:schemeClr val="tx2"/>
                  </a:solid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48014AD2-DEC4-40D1-9B8A-593AB15C5975}"/>
                    </a:ext>
                  </a:extLst>
                </p:cNvPr>
                <p:cNvSpPr/>
                <p:nvPr/>
              </p:nvSpPr>
              <p:spPr>
                <a:xfrm>
                  <a:off x="3694112" y="2786729"/>
                  <a:ext cx="4800981" cy="9525"/>
                </a:xfrm>
                <a:custGeom>
                  <a:avLst/>
                  <a:gdLst>
                    <a:gd name="connsiteX0" fmla="*/ 0 w 4800981"/>
                    <a:gd name="connsiteY0" fmla="*/ 0 h 9525"/>
                    <a:gd name="connsiteX1" fmla="*/ 4800981 w 4800981"/>
                    <a:gd name="connsiteY1" fmla="*/ 0 h 9525"/>
                  </a:gdLst>
                  <a:ahLst/>
                  <a:cxnLst>
                    <a:cxn ang="0">
                      <a:pos x="connsiteX0" y="connsiteY0"/>
                    </a:cxn>
                    <a:cxn ang="0">
                      <a:pos x="connsiteX1" y="connsiteY1"/>
                    </a:cxn>
                  </a:cxnLst>
                  <a:rect l="l" t="t" r="r" b="b"/>
                  <a:pathLst>
                    <a:path w="4800981" h="9525">
                      <a:moveTo>
                        <a:pt x="0" y="0"/>
                      </a:moveTo>
                      <a:lnTo>
                        <a:pt x="4800981" y="0"/>
                      </a:lnTo>
                    </a:path>
                  </a:pathLst>
                </a:custGeom>
                <a:ln w="4763" cap="flat">
                  <a:solidFill>
                    <a:schemeClr val="tx2"/>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F37DAF3-5570-479A-A52B-E01189B31DAD}"/>
                    </a:ext>
                  </a:extLst>
                </p:cNvPr>
                <p:cNvSpPr/>
                <p:nvPr/>
              </p:nvSpPr>
              <p:spPr>
                <a:xfrm>
                  <a:off x="3694112" y="3105150"/>
                  <a:ext cx="4800981" cy="9525"/>
                </a:xfrm>
                <a:custGeom>
                  <a:avLst/>
                  <a:gdLst>
                    <a:gd name="connsiteX0" fmla="*/ 0 w 4800981"/>
                    <a:gd name="connsiteY0" fmla="*/ 0 h 9525"/>
                    <a:gd name="connsiteX1" fmla="*/ 4800981 w 4800981"/>
                    <a:gd name="connsiteY1" fmla="*/ 0 h 9525"/>
                  </a:gdLst>
                  <a:ahLst/>
                  <a:cxnLst>
                    <a:cxn ang="0">
                      <a:pos x="connsiteX0" y="connsiteY0"/>
                    </a:cxn>
                    <a:cxn ang="0">
                      <a:pos x="connsiteX1" y="connsiteY1"/>
                    </a:cxn>
                  </a:cxnLst>
                  <a:rect l="l" t="t" r="r" b="b"/>
                  <a:pathLst>
                    <a:path w="4800981" h="9525">
                      <a:moveTo>
                        <a:pt x="0" y="0"/>
                      </a:moveTo>
                      <a:lnTo>
                        <a:pt x="4800981" y="0"/>
                      </a:lnTo>
                    </a:path>
                  </a:pathLst>
                </a:custGeom>
                <a:ln w="4763" cap="flat">
                  <a:solidFill>
                    <a:schemeClr val="tx2"/>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03DB07B5-061D-4CAF-B610-CA0A96F22CC5}"/>
                    </a:ext>
                  </a:extLst>
                </p:cNvPr>
                <p:cNvSpPr/>
                <p:nvPr/>
              </p:nvSpPr>
              <p:spPr>
                <a:xfrm>
                  <a:off x="3694112" y="3423666"/>
                  <a:ext cx="4800981" cy="9525"/>
                </a:xfrm>
                <a:custGeom>
                  <a:avLst/>
                  <a:gdLst>
                    <a:gd name="connsiteX0" fmla="*/ 0 w 4800981"/>
                    <a:gd name="connsiteY0" fmla="*/ 0 h 9525"/>
                    <a:gd name="connsiteX1" fmla="*/ 4800981 w 4800981"/>
                    <a:gd name="connsiteY1" fmla="*/ 0 h 9525"/>
                  </a:gdLst>
                  <a:ahLst/>
                  <a:cxnLst>
                    <a:cxn ang="0">
                      <a:pos x="connsiteX0" y="connsiteY0"/>
                    </a:cxn>
                    <a:cxn ang="0">
                      <a:pos x="connsiteX1" y="connsiteY1"/>
                    </a:cxn>
                  </a:cxnLst>
                  <a:rect l="l" t="t" r="r" b="b"/>
                  <a:pathLst>
                    <a:path w="4800981" h="9525">
                      <a:moveTo>
                        <a:pt x="0" y="0"/>
                      </a:moveTo>
                      <a:lnTo>
                        <a:pt x="4800981" y="0"/>
                      </a:lnTo>
                    </a:path>
                  </a:pathLst>
                </a:custGeom>
                <a:ln w="4763" cap="flat">
                  <a:solidFill>
                    <a:schemeClr val="tx2"/>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619313A9-04E3-4B27-8DBF-32F0ECB98972}"/>
                    </a:ext>
                  </a:extLst>
                </p:cNvPr>
                <p:cNvSpPr/>
                <p:nvPr/>
              </p:nvSpPr>
              <p:spPr>
                <a:xfrm>
                  <a:off x="3694112" y="3742182"/>
                  <a:ext cx="4800981" cy="9525"/>
                </a:xfrm>
                <a:custGeom>
                  <a:avLst/>
                  <a:gdLst>
                    <a:gd name="connsiteX0" fmla="*/ 0 w 4800981"/>
                    <a:gd name="connsiteY0" fmla="*/ 0 h 9525"/>
                    <a:gd name="connsiteX1" fmla="*/ 4800981 w 4800981"/>
                    <a:gd name="connsiteY1" fmla="*/ 0 h 9525"/>
                  </a:gdLst>
                  <a:ahLst/>
                  <a:cxnLst>
                    <a:cxn ang="0">
                      <a:pos x="connsiteX0" y="connsiteY0"/>
                    </a:cxn>
                    <a:cxn ang="0">
                      <a:pos x="connsiteX1" y="connsiteY1"/>
                    </a:cxn>
                  </a:cxnLst>
                  <a:rect l="l" t="t" r="r" b="b"/>
                  <a:pathLst>
                    <a:path w="4800981" h="9525">
                      <a:moveTo>
                        <a:pt x="0" y="0"/>
                      </a:moveTo>
                      <a:lnTo>
                        <a:pt x="4800981" y="0"/>
                      </a:lnTo>
                    </a:path>
                  </a:pathLst>
                </a:custGeom>
                <a:ln w="4763" cap="flat">
                  <a:solidFill>
                    <a:schemeClr val="tx2"/>
                  </a:solid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AA949DE7-73AC-43AF-8B84-8DE6929BA866}"/>
                    </a:ext>
                  </a:extLst>
                </p:cNvPr>
                <p:cNvSpPr/>
                <p:nvPr/>
              </p:nvSpPr>
              <p:spPr>
                <a:xfrm>
                  <a:off x="3694112" y="4060698"/>
                  <a:ext cx="4800981" cy="9525"/>
                </a:xfrm>
                <a:custGeom>
                  <a:avLst/>
                  <a:gdLst>
                    <a:gd name="connsiteX0" fmla="*/ 0 w 4800981"/>
                    <a:gd name="connsiteY0" fmla="*/ 0 h 9525"/>
                    <a:gd name="connsiteX1" fmla="*/ 4800981 w 4800981"/>
                    <a:gd name="connsiteY1" fmla="*/ 0 h 9525"/>
                  </a:gdLst>
                  <a:ahLst/>
                  <a:cxnLst>
                    <a:cxn ang="0">
                      <a:pos x="connsiteX0" y="connsiteY0"/>
                    </a:cxn>
                    <a:cxn ang="0">
                      <a:pos x="connsiteX1" y="connsiteY1"/>
                    </a:cxn>
                  </a:cxnLst>
                  <a:rect l="l" t="t" r="r" b="b"/>
                  <a:pathLst>
                    <a:path w="4800981" h="9525">
                      <a:moveTo>
                        <a:pt x="0" y="0"/>
                      </a:moveTo>
                      <a:lnTo>
                        <a:pt x="4800981" y="0"/>
                      </a:lnTo>
                    </a:path>
                  </a:pathLst>
                </a:custGeom>
                <a:ln w="4763" cap="flat">
                  <a:solidFill>
                    <a:schemeClr val="tx2"/>
                  </a:soli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3A970A3-67BB-4E6E-BCC3-2A26B0CC0D4E}"/>
                    </a:ext>
                  </a:extLst>
                </p:cNvPr>
                <p:cNvSpPr/>
                <p:nvPr/>
              </p:nvSpPr>
              <p:spPr>
                <a:xfrm>
                  <a:off x="3694112" y="4379214"/>
                  <a:ext cx="4800981" cy="9525"/>
                </a:xfrm>
                <a:custGeom>
                  <a:avLst/>
                  <a:gdLst>
                    <a:gd name="connsiteX0" fmla="*/ 0 w 4800981"/>
                    <a:gd name="connsiteY0" fmla="*/ 0 h 9525"/>
                    <a:gd name="connsiteX1" fmla="*/ 4800981 w 4800981"/>
                    <a:gd name="connsiteY1" fmla="*/ 0 h 9525"/>
                  </a:gdLst>
                  <a:ahLst/>
                  <a:cxnLst>
                    <a:cxn ang="0">
                      <a:pos x="connsiteX0" y="connsiteY0"/>
                    </a:cxn>
                    <a:cxn ang="0">
                      <a:pos x="connsiteX1" y="connsiteY1"/>
                    </a:cxn>
                  </a:cxnLst>
                  <a:rect l="l" t="t" r="r" b="b"/>
                  <a:pathLst>
                    <a:path w="4800981" h="9525">
                      <a:moveTo>
                        <a:pt x="0" y="0"/>
                      </a:moveTo>
                      <a:lnTo>
                        <a:pt x="4800981" y="0"/>
                      </a:lnTo>
                    </a:path>
                  </a:pathLst>
                </a:custGeom>
                <a:ln w="4763" cap="flat">
                  <a:solidFill>
                    <a:schemeClr val="tx2"/>
                  </a:soli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B1C14DC7-17C5-4772-9DDF-660AF388B535}"/>
                    </a:ext>
                  </a:extLst>
                </p:cNvPr>
                <p:cNvSpPr/>
                <p:nvPr/>
              </p:nvSpPr>
              <p:spPr>
                <a:xfrm>
                  <a:off x="3694112" y="4697730"/>
                  <a:ext cx="4800981" cy="9525"/>
                </a:xfrm>
                <a:custGeom>
                  <a:avLst/>
                  <a:gdLst>
                    <a:gd name="connsiteX0" fmla="*/ 0 w 4800981"/>
                    <a:gd name="connsiteY0" fmla="*/ 0 h 9525"/>
                    <a:gd name="connsiteX1" fmla="*/ 4800981 w 4800981"/>
                    <a:gd name="connsiteY1" fmla="*/ 0 h 9525"/>
                  </a:gdLst>
                  <a:ahLst/>
                  <a:cxnLst>
                    <a:cxn ang="0">
                      <a:pos x="connsiteX0" y="connsiteY0"/>
                    </a:cxn>
                    <a:cxn ang="0">
                      <a:pos x="connsiteX1" y="connsiteY1"/>
                    </a:cxn>
                  </a:cxnLst>
                  <a:rect l="l" t="t" r="r" b="b"/>
                  <a:pathLst>
                    <a:path w="4800981" h="9525">
                      <a:moveTo>
                        <a:pt x="0" y="0"/>
                      </a:moveTo>
                      <a:lnTo>
                        <a:pt x="4800981" y="0"/>
                      </a:lnTo>
                    </a:path>
                  </a:pathLst>
                </a:custGeom>
                <a:ln w="4763" cap="flat">
                  <a:solidFill>
                    <a:schemeClr val="tx2"/>
                  </a:soli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B7D8ECC-9CFF-4E59-A17B-C57FEA024060}"/>
                    </a:ext>
                  </a:extLst>
                </p:cNvPr>
                <p:cNvSpPr/>
                <p:nvPr/>
              </p:nvSpPr>
              <p:spPr>
                <a:xfrm>
                  <a:off x="5191156" y="1831181"/>
                  <a:ext cx="9525" cy="3184588"/>
                </a:xfrm>
                <a:custGeom>
                  <a:avLst/>
                  <a:gdLst>
                    <a:gd name="connsiteX0" fmla="*/ 0 w 9525"/>
                    <a:gd name="connsiteY0" fmla="*/ 0 h 3184588"/>
                    <a:gd name="connsiteX1" fmla="*/ 0 w 9525"/>
                    <a:gd name="connsiteY1" fmla="*/ 3184589 h 3184588"/>
                  </a:gdLst>
                  <a:ahLst/>
                  <a:cxnLst>
                    <a:cxn ang="0">
                      <a:pos x="connsiteX0" y="connsiteY0"/>
                    </a:cxn>
                    <a:cxn ang="0">
                      <a:pos x="connsiteX1" y="connsiteY1"/>
                    </a:cxn>
                  </a:cxnLst>
                  <a:rect l="l" t="t" r="r" b="b"/>
                  <a:pathLst>
                    <a:path w="9525" h="3184588">
                      <a:moveTo>
                        <a:pt x="0" y="0"/>
                      </a:moveTo>
                      <a:lnTo>
                        <a:pt x="0" y="3184589"/>
                      </a:lnTo>
                    </a:path>
                  </a:pathLst>
                </a:custGeom>
                <a:ln w="4763" cap="flat">
                  <a:solidFill>
                    <a:schemeClr val="tx2"/>
                  </a:soli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97187F7-0748-425E-82CB-D3E370637CAD}"/>
                    </a:ext>
                  </a:extLst>
                </p:cNvPr>
                <p:cNvSpPr/>
                <p:nvPr/>
              </p:nvSpPr>
              <p:spPr>
                <a:xfrm>
                  <a:off x="6691153" y="1831181"/>
                  <a:ext cx="9525" cy="3184588"/>
                </a:xfrm>
                <a:custGeom>
                  <a:avLst/>
                  <a:gdLst>
                    <a:gd name="connsiteX0" fmla="*/ 0 w 9525"/>
                    <a:gd name="connsiteY0" fmla="*/ 0 h 3184588"/>
                    <a:gd name="connsiteX1" fmla="*/ 0 w 9525"/>
                    <a:gd name="connsiteY1" fmla="*/ 3184589 h 3184588"/>
                  </a:gdLst>
                  <a:ahLst/>
                  <a:cxnLst>
                    <a:cxn ang="0">
                      <a:pos x="connsiteX0" y="connsiteY0"/>
                    </a:cxn>
                    <a:cxn ang="0">
                      <a:pos x="connsiteX1" y="connsiteY1"/>
                    </a:cxn>
                  </a:cxnLst>
                  <a:rect l="l" t="t" r="r" b="b"/>
                  <a:pathLst>
                    <a:path w="9525" h="3184588">
                      <a:moveTo>
                        <a:pt x="0" y="0"/>
                      </a:moveTo>
                      <a:lnTo>
                        <a:pt x="0" y="3184589"/>
                      </a:lnTo>
                    </a:path>
                  </a:pathLst>
                </a:custGeom>
                <a:ln w="4763" cap="flat">
                  <a:solidFill>
                    <a:schemeClr val="tx2"/>
                  </a:soli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48D18936-C217-46AD-A956-FE8111E6E9CF}"/>
                    </a:ext>
                  </a:extLst>
                </p:cNvPr>
                <p:cNvSpPr/>
                <p:nvPr/>
              </p:nvSpPr>
              <p:spPr>
                <a:xfrm>
                  <a:off x="8201627" y="1831181"/>
                  <a:ext cx="9525" cy="3184588"/>
                </a:xfrm>
                <a:custGeom>
                  <a:avLst/>
                  <a:gdLst>
                    <a:gd name="connsiteX0" fmla="*/ 0 w 9525"/>
                    <a:gd name="connsiteY0" fmla="*/ 0 h 3184588"/>
                    <a:gd name="connsiteX1" fmla="*/ 0 w 9525"/>
                    <a:gd name="connsiteY1" fmla="*/ 3184589 h 3184588"/>
                  </a:gdLst>
                  <a:ahLst/>
                  <a:cxnLst>
                    <a:cxn ang="0">
                      <a:pos x="connsiteX0" y="connsiteY0"/>
                    </a:cxn>
                    <a:cxn ang="0">
                      <a:pos x="connsiteX1" y="connsiteY1"/>
                    </a:cxn>
                  </a:cxnLst>
                  <a:rect l="l" t="t" r="r" b="b"/>
                  <a:pathLst>
                    <a:path w="9525" h="3184588">
                      <a:moveTo>
                        <a:pt x="0" y="0"/>
                      </a:moveTo>
                      <a:lnTo>
                        <a:pt x="0" y="3184589"/>
                      </a:lnTo>
                    </a:path>
                  </a:pathLst>
                </a:custGeom>
                <a:ln w="4763" cap="flat">
                  <a:solidFill>
                    <a:schemeClr val="tx2"/>
                  </a:solidFill>
                  <a:prstDash val="solid"/>
                  <a:miter/>
                </a:ln>
              </p:spPr>
              <p:txBody>
                <a:bodyPr rtlCol="0" anchor="ctr"/>
                <a:lstStyle/>
                <a:p>
                  <a:endParaRPr lang="en-US"/>
                </a:p>
              </p:txBody>
            </p:sp>
          </p:grpSp>
          <p:sp>
            <p:nvSpPr>
              <p:cNvPr id="11" name="Freeform: Shape 10">
                <a:extLst>
                  <a:ext uri="{FF2B5EF4-FFF2-40B4-BE49-F238E27FC236}">
                    <a16:creationId xmlns:a16="http://schemas.microsoft.com/office/drawing/2014/main" id="{0EAA0E5C-C107-4647-A76B-4F1DB8555995}"/>
                  </a:ext>
                </a:extLst>
              </p:cNvPr>
              <p:cNvSpPr/>
              <p:nvPr/>
            </p:nvSpPr>
            <p:spPr>
              <a:xfrm>
                <a:off x="3694111" y="2241708"/>
                <a:ext cx="4805743" cy="2584568"/>
              </a:xfrm>
              <a:custGeom>
                <a:avLst/>
                <a:gdLst>
                  <a:gd name="connsiteX0" fmla="*/ -169 w 4805743"/>
                  <a:gd name="connsiteY0" fmla="*/ 2584408 h 2584568"/>
                  <a:gd name="connsiteX1" fmla="*/ 119275 w 4805743"/>
                  <a:gd name="connsiteY1" fmla="*/ 2565358 h 2584568"/>
                  <a:gd name="connsiteX2" fmla="*/ 347875 w 4805743"/>
                  <a:gd name="connsiteY2" fmla="*/ 2412958 h 2584568"/>
                  <a:gd name="connsiteX3" fmla="*/ 446363 w 4805743"/>
                  <a:gd name="connsiteY3" fmla="*/ 2362094 h 2584568"/>
                  <a:gd name="connsiteX4" fmla="*/ 653437 w 4805743"/>
                  <a:gd name="connsiteY4" fmla="*/ 2161402 h 2584568"/>
                  <a:gd name="connsiteX5" fmla="*/ 913088 w 4805743"/>
                  <a:gd name="connsiteY5" fmla="*/ 2066819 h 2584568"/>
                  <a:gd name="connsiteX6" fmla="*/ 1243225 w 4805743"/>
                  <a:gd name="connsiteY6" fmla="*/ 1993858 h 2584568"/>
                  <a:gd name="connsiteX7" fmla="*/ 1407817 w 4805743"/>
                  <a:gd name="connsiteY7" fmla="*/ 1956424 h 2584568"/>
                  <a:gd name="connsiteX8" fmla="*/ 1622987 w 4805743"/>
                  <a:gd name="connsiteY8" fmla="*/ 1775449 h 2584568"/>
                  <a:gd name="connsiteX9" fmla="*/ 1690900 w 4805743"/>
                  <a:gd name="connsiteY9" fmla="*/ 1612858 h 2584568"/>
                  <a:gd name="connsiteX10" fmla="*/ 1808438 w 4805743"/>
                  <a:gd name="connsiteY10" fmla="*/ 1228619 h 2584568"/>
                  <a:gd name="connsiteX11" fmla="*/ 1998938 w 4805743"/>
                  <a:gd name="connsiteY11" fmla="*/ 838094 h 2584568"/>
                  <a:gd name="connsiteX12" fmla="*/ 2119525 w 4805743"/>
                  <a:gd name="connsiteY12" fmla="*/ 676169 h 2584568"/>
                  <a:gd name="connsiteX13" fmla="*/ 2179914 w 4805743"/>
                  <a:gd name="connsiteY13" fmla="*/ 520626 h 2584568"/>
                  <a:gd name="connsiteX14" fmla="*/ 2211632 w 4805743"/>
                  <a:gd name="connsiteY14" fmla="*/ 479383 h 2584568"/>
                  <a:gd name="connsiteX15" fmla="*/ 2227539 w 4805743"/>
                  <a:gd name="connsiteY15" fmla="*/ 431758 h 2584568"/>
                  <a:gd name="connsiteX16" fmla="*/ 2357650 w 4805743"/>
                  <a:gd name="connsiteY16" fmla="*/ 355558 h 2584568"/>
                  <a:gd name="connsiteX17" fmla="*/ 2446614 w 4805743"/>
                  <a:gd name="connsiteY17" fmla="*/ 304694 h 2584568"/>
                  <a:gd name="connsiteX18" fmla="*/ 2579964 w 4805743"/>
                  <a:gd name="connsiteY18" fmla="*/ 226399 h 2584568"/>
                  <a:gd name="connsiteX19" fmla="*/ 2805325 w 4805743"/>
                  <a:gd name="connsiteY19" fmla="*/ 101526 h 2584568"/>
                  <a:gd name="connsiteX20" fmla="*/ 2996777 w 4805743"/>
                  <a:gd name="connsiteY20" fmla="*/ 72951 h 2584568"/>
                  <a:gd name="connsiteX21" fmla="*/ 3141939 w 4805743"/>
                  <a:gd name="connsiteY21" fmla="*/ 15801 h 2584568"/>
                  <a:gd name="connsiteX22" fmla="*/ 3332438 w 4805743"/>
                  <a:gd name="connsiteY22" fmla="*/ -106 h 2584568"/>
                  <a:gd name="connsiteX23" fmla="*/ 3497507 w 4805743"/>
                  <a:gd name="connsiteY23" fmla="*/ 6276 h 2584568"/>
                  <a:gd name="connsiteX24" fmla="*/ 3742013 w 4805743"/>
                  <a:gd name="connsiteY24" fmla="*/ 28469 h 2584568"/>
                  <a:gd name="connsiteX25" fmla="*/ 4024525 w 4805743"/>
                  <a:gd name="connsiteY25" fmla="*/ 72951 h 2584568"/>
                  <a:gd name="connsiteX26" fmla="*/ 4170638 w 4805743"/>
                  <a:gd name="connsiteY26" fmla="*/ 72951 h 2584568"/>
                  <a:gd name="connsiteX27" fmla="*/ 4342088 w 4805743"/>
                  <a:gd name="connsiteY27" fmla="*/ 184107 h 2584568"/>
                  <a:gd name="connsiteX28" fmla="*/ 4653175 w 4805743"/>
                  <a:gd name="connsiteY28" fmla="*/ 904769 h 2584568"/>
                  <a:gd name="connsiteX29" fmla="*/ 4713563 w 4805743"/>
                  <a:gd name="connsiteY29" fmla="*/ 1130226 h 2584568"/>
                  <a:gd name="connsiteX30" fmla="*/ 4738900 w 4805743"/>
                  <a:gd name="connsiteY30" fmla="*/ 1333394 h 2584568"/>
                  <a:gd name="connsiteX31" fmla="*/ 4805575 w 4805743"/>
                  <a:gd name="connsiteY31" fmla="*/ 1625526 h 258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805743" h="2584568">
                    <a:moveTo>
                      <a:pt x="-169" y="2584408"/>
                    </a:moveTo>
                    <a:cubicBezTo>
                      <a:pt x="40455" y="2585132"/>
                      <a:pt x="80889" y="2578683"/>
                      <a:pt x="119275" y="2565358"/>
                    </a:cubicBezTo>
                    <a:cubicBezTo>
                      <a:pt x="211096" y="2532782"/>
                      <a:pt x="225764" y="2480680"/>
                      <a:pt x="347875" y="2412958"/>
                    </a:cubicBezTo>
                    <a:cubicBezTo>
                      <a:pt x="407978" y="2379620"/>
                      <a:pt x="400358" y="2391050"/>
                      <a:pt x="446363" y="2362094"/>
                    </a:cubicBezTo>
                    <a:cubicBezTo>
                      <a:pt x="560663" y="2290466"/>
                      <a:pt x="573427" y="2225601"/>
                      <a:pt x="653437" y="2161402"/>
                    </a:cubicBezTo>
                    <a:cubicBezTo>
                      <a:pt x="697252" y="2126255"/>
                      <a:pt x="769261" y="2106443"/>
                      <a:pt x="913088" y="2066819"/>
                    </a:cubicBezTo>
                    <a:cubicBezTo>
                      <a:pt x="1016149" y="2038244"/>
                      <a:pt x="1120162" y="2018051"/>
                      <a:pt x="1243225" y="1993858"/>
                    </a:cubicBezTo>
                    <a:cubicBezTo>
                      <a:pt x="1366288" y="1969664"/>
                      <a:pt x="1374289" y="1970712"/>
                      <a:pt x="1407817" y="1956424"/>
                    </a:cubicBezTo>
                    <a:cubicBezTo>
                      <a:pt x="1495552" y="1918200"/>
                      <a:pt x="1570294" y="1855336"/>
                      <a:pt x="1622987" y="1775449"/>
                    </a:cubicBezTo>
                    <a:cubicBezTo>
                      <a:pt x="1655848" y="1725157"/>
                      <a:pt x="1668897" y="1684105"/>
                      <a:pt x="1690900" y="1612858"/>
                    </a:cubicBezTo>
                    <a:cubicBezTo>
                      <a:pt x="1794437" y="1278530"/>
                      <a:pt x="1783673" y="1290246"/>
                      <a:pt x="1808438" y="1228619"/>
                    </a:cubicBezTo>
                    <a:cubicBezTo>
                      <a:pt x="1853587" y="1116129"/>
                      <a:pt x="1960838" y="923819"/>
                      <a:pt x="1998938" y="838094"/>
                    </a:cubicBezTo>
                    <a:cubicBezTo>
                      <a:pt x="2030657" y="766561"/>
                      <a:pt x="2096760" y="749988"/>
                      <a:pt x="2119525" y="676169"/>
                    </a:cubicBezTo>
                    <a:cubicBezTo>
                      <a:pt x="2134003" y="629592"/>
                      <a:pt x="2141337" y="558345"/>
                      <a:pt x="2179914" y="520626"/>
                    </a:cubicBezTo>
                    <a:cubicBezTo>
                      <a:pt x="2192667" y="508700"/>
                      <a:pt x="2203383" y="494775"/>
                      <a:pt x="2211632" y="479383"/>
                    </a:cubicBezTo>
                    <a:cubicBezTo>
                      <a:pt x="2223443" y="456903"/>
                      <a:pt x="2221919" y="445854"/>
                      <a:pt x="2227539" y="431758"/>
                    </a:cubicBezTo>
                    <a:cubicBezTo>
                      <a:pt x="2241921" y="395467"/>
                      <a:pt x="2282783" y="391753"/>
                      <a:pt x="2357650" y="355558"/>
                    </a:cubicBezTo>
                    <a:cubicBezTo>
                      <a:pt x="2361841" y="353462"/>
                      <a:pt x="2390130" y="337270"/>
                      <a:pt x="2446614" y="304694"/>
                    </a:cubicBezTo>
                    <a:cubicBezTo>
                      <a:pt x="2505954" y="270499"/>
                      <a:pt x="2535863" y="252402"/>
                      <a:pt x="2579964" y="226399"/>
                    </a:cubicBezTo>
                    <a:cubicBezTo>
                      <a:pt x="2712361" y="148294"/>
                      <a:pt x="2778464" y="109241"/>
                      <a:pt x="2805325" y="101526"/>
                    </a:cubicBezTo>
                    <a:cubicBezTo>
                      <a:pt x="2889431" y="77332"/>
                      <a:pt x="2898194" y="102859"/>
                      <a:pt x="2996777" y="72951"/>
                    </a:cubicBezTo>
                    <a:cubicBezTo>
                      <a:pt x="3071834" y="50186"/>
                      <a:pt x="3072120" y="33898"/>
                      <a:pt x="3141939" y="15801"/>
                    </a:cubicBezTo>
                    <a:cubicBezTo>
                      <a:pt x="3192040" y="2847"/>
                      <a:pt x="3238808" y="1894"/>
                      <a:pt x="3332438" y="-106"/>
                    </a:cubicBezTo>
                    <a:cubicBezTo>
                      <a:pt x="3352727" y="-106"/>
                      <a:pt x="3399113" y="-106"/>
                      <a:pt x="3497507" y="6276"/>
                    </a:cubicBezTo>
                    <a:cubicBezTo>
                      <a:pt x="3593995" y="12562"/>
                      <a:pt x="3658384" y="16849"/>
                      <a:pt x="3742013" y="28469"/>
                    </a:cubicBezTo>
                    <a:cubicBezTo>
                      <a:pt x="3915559" y="52758"/>
                      <a:pt x="3921369" y="73999"/>
                      <a:pt x="4024525" y="72951"/>
                    </a:cubicBezTo>
                    <a:cubicBezTo>
                      <a:pt x="4099296" y="72189"/>
                      <a:pt x="4119204" y="60092"/>
                      <a:pt x="4170638" y="72951"/>
                    </a:cubicBezTo>
                    <a:cubicBezTo>
                      <a:pt x="4248839" y="92477"/>
                      <a:pt x="4303417" y="141721"/>
                      <a:pt x="4342088" y="184107"/>
                    </a:cubicBezTo>
                    <a:cubicBezTo>
                      <a:pt x="4460579" y="314219"/>
                      <a:pt x="4504871" y="464143"/>
                      <a:pt x="4653175" y="904769"/>
                    </a:cubicBezTo>
                    <a:cubicBezTo>
                      <a:pt x="4679035" y="978264"/>
                      <a:pt x="4699228" y="1053645"/>
                      <a:pt x="4713563" y="1130226"/>
                    </a:cubicBezTo>
                    <a:cubicBezTo>
                      <a:pt x="4729185" y="1215951"/>
                      <a:pt x="4728232" y="1254051"/>
                      <a:pt x="4738900" y="1333394"/>
                    </a:cubicBezTo>
                    <a:cubicBezTo>
                      <a:pt x="4752416" y="1432559"/>
                      <a:pt x="4774733" y="1530314"/>
                      <a:pt x="4805575" y="1625526"/>
                    </a:cubicBezTo>
                  </a:path>
                </a:pathLst>
              </a:custGeom>
              <a:noFill/>
              <a:ln w="57150" cap="flat">
                <a:solidFill>
                  <a:schemeClr val="bg1">
                    <a:lumMod val="65000"/>
                  </a:schemeClr>
                </a:solidFill>
                <a:prstDash val="solid"/>
                <a:miter/>
              </a:ln>
            </p:spPr>
            <p:txBody>
              <a:bodyPr rtlCol="0" anchor="ctr"/>
              <a:lstStyle/>
              <a:p>
                <a:endParaRPr lang="en-US"/>
              </a:p>
            </p:txBody>
          </p:sp>
        </p:grpSp>
        <p:sp>
          <p:nvSpPr>
            <p:cNvPr id="26" name="TextBox 25">
              <a:extLst>
                <a:ext uri="{FF2B5EF4-FFF2-40B4-BE49-F238E27FC236}">
                  <a16:creationId xmlns:a16="http://schemas.microsoft.com/office/drawing/2014/main" id="{0A3B737E-10B5-47F9-B7C7-78A023A820C6}"/>
                </a:ext>
              </a:extLst>
            </p:cNvPr>
            <p:cNvSpPr txBox="1"/>
            <p:nvPr/>
          </p:nvSpPr>
          <p:spPr>
            <a:xfrm>
              <a:off x="4904071" y="3939024"/>
              <a:ext cx="269626" cy="276999"/>
            </a:xfrm>
            <a:prstGeom prst="rect">
              <a:avLst/>
            </a:prstGeom>
            <a:noFill/>
          </p:spPr>
          <p:txBody>
            <a:bodyPr wrap="none" rtlCol="0">
              <a:spAutoFit/>
            </a:bodyPr>
            <a:lstStyle/>
            <a:p>
              <a:pPr algn="ctr"/>
              <a:r>
                <a:rPr lang="en-US" sz="1200"/>
                <a:t>0</a:t>
              </a:r>
            </a:p>
          </p:txBody>
        </p:sp>
        <p:sp>
          <p:nvSpPr>
            <p:cNvPr id="27" name="TextBox 26">
              <a:extLst>
                <a:ext uri="{FF2B5EF4-FFF2-40B4-BE49-F238E27FC236}">
                  <a16:creationId xmlns:a16="http://schemas.microsoft.com/office/drawing/2014/main" id="{49929C1D-BF33-4BDE-AEA4-92A77058A457}"/>
                </a:ext>
              </a:extLst>
            </p:cNvPr>
            <p:cNvSpPr txBox="1"/>
            <p:nvPr/>
          </p:nvSpPr>
          <p:spPr>
            <a:xfrm>
              <a:off x="6545510" y="3939024"/>
              <a:ext cx="269626" cy="276999"/>
            </a:xfrm>
            <a:prstGeom prst="rect">
              <a:avLst/>
            </a:prstGeom>
            <a:noFill/>
          </p:spPr>
          <p:txBody>
            <a:bodyPr wrap="none" rtlCol="0">
              <a:spAutoFit/>
            </a:bodyPr>
            <a:lstStyle/>
            <a:p>
              <a:pPr algn="ctr"/>
              <a:r>
                <a:rPr lang="en-US" sz="1200"/>
                <a:t>5</a:t>
              </a:r>
            </a:p>
          </p:txBody>
        </p:sp>
        <p:sp>
          <p:nvSpPr>
            <p:cNvPr id="28" name="TextBox 27">
              <a:extLst>
                <a:ext uri="{FF2B5EF4-FFF2-40B4-BE49-F238E27FC236}">
                  <a16:creationId xmlns:a16="http://schemas.microsoft.com/office/drawing/2014/main" id="{155E17AA-7254-44DD-A351-7D8C359AE62A}"/>
                </a:ext>
              </a:extLst>
            </p:cNvPr>
            <p:cNvSpPr txBox="1"/>
            <p:nvPr/>
          </p:nvSpPr>
          <p:spPr>
            <a:xfrm>
              <a:off x="8003028" y="3939024"/>
              <a:ext cx="354584" cy="276999"/>
            </a:xfrm>
            <a:prstGeom prst="rect">
              <a:avLst/>
            </a:prstGeom>
            <a:noFill/>
          </p:spPr>
          <p:txBody>
            <a:bodyPr wrap="none" rtlCol="0">
              <a:spAutoFit/>
            </a:bodyPr>
            <a:lstStyle/>
            <a:p>
              <a:pPr algn="ctr"/>
              <a:r>
                <a:rPr lang="en-US" sz="1200"/>
                <a:t>10</a:t>
              </a:r>
            </a:p>
          </p:txBody>
        </p:sp>
        <p:sp>
          <p:nvSpPr>
            <p:cNvPr id="29" name="TextBox 28">
              <a:extLst>
                <a:ext uri="{FF2B5EF4-FFF2-40B4-BE49-F238E27FC236}">
                  <a16:creationId xmlns:a16="http://schemas.microsoft.com/office/drawing/2014/main" id="{D85706F4-20D7-43A6-BE72-64FA7182798B}"/>
                </a:ext>
              </a:extLst>
            </p:cNvPr>
            <p:cNvSpPr txBox="1"/>
            <p:nvPr/>
          </p:nvSpPr>
          <p:spPr>
            <a:xfrm>
              <a:off x="9503025" y="3939024"/>
              <a:ext cx="354584" cy="276999"/>
            </a:xfrm>
            <a:prstGeom prst="rect">
              <a:avLst/>
            </a:prstGeom>
            <a:noFill/>
          </p:spPr>
          <p:txBody>
            <a:bodyPr wrap="none" rtlCol="0">
              <a:spAutoFit/>
            </a:bodyPr>
            <a:lstStyle/>
            <a:p>
              <a:pPr algn="ctr"/>
              <a:r>
                <a:rPr lang="en-US" sz="1200"/>
                <a:t>15</a:t>
              </a:r>
            </a:p>
          </p:txBody>
        </p:sp>
        <p:sp>
          <p:nvSpPr>
            <p:cNvPr id="30" name="TextBox 29">
              <a:extLst>
                <a:ext uri="{FF2B5EF4-FFF2-40B4-BE49-F238E27FC236}">
                  <a16:creationId xmlns:a16="http://schemas.microsoft.com/office/drawing/2014/main" id="{2576D9EE-6A1C-4AD8-A32A-A2EB4077F437}"/>
                </a:ext>
              </a:extLst>
            </p:cNvPr>
            <p:cNvSpPr txBox="1"/>
            <p:nvPr/>
          </p:nvSpPr>
          <p:spPr>
            <a:xfrm>
              <a:off x="4734153" y="3152339"/>
              <a:ext cx="439544" cy="276999"/>
            </a:xfrm>
            <a:prstGeom prst="rect">
              <a:avLst/>
            </a:prstGeom>
            <a:noFill/>
          </p:spPr>
          <p:txBody>
            <a:bodyPr wrap="none" rtlCol="0">
              <a:spAutoFit/>
            </a:bodyPr>
            <a:lstStyle/>
            <a:p>
              <a:pPr algn="r"/>
              <a:r>
                <a:rPr lang="en-US" sz="1200"/>
                <a:t>100</a:t>
              </a:r>
            </a:p>
          </p:txBody>
        </p:sp>
        <p:sp>
          <p:nvSpPr>
            <p:cNvPr id="31" name="TextBox 30">
              <a:extLst>
                <a:ext uri="{FF2B5EF4-FFF2-40B4-BE49-F238E27FC236}">
                  <a16:creationId xmlns:a16="http://schemas.microsoft.com/office/drawing/2014/main" id="{09C148C8-2DA5-4C1F-BC5F-1AF96E344BB3}"/>
                </a:ext>
              </a:extLst>
            </p:cNvPr>
            <p:cNvSpPr txBox="1"/>
            <p:nvPr/>
          </p:nvSpPr>
          <p:spPr>
            <a:xfrm>
              <a:off x="4734153" y="2531577"/>
              <a:ext cx="439544" cy="276999"/>
            </a:xfrm>
            <a:prstGeom prst="rect">
              <a:avLst/>
            </a:prstGeom>
            <a:noFill/>
          </p:spPr>
          <p:txBody>
            <a:bodyPr wrap="none" rtlCol="0">
              <a:spAutoFit/>
            </a:bodyPr>
            <a:lstStyle/>
            <a:p>
              <a:pPr algn="r"/>
              <a:r>
                <a:rPr lang="en-US" sz="1200"/>
                <a:t>200</a:t>
              </a:r>
            </a:p>
          </p:txBody>
        </p:sp>
        <p:sp>
          <p:nvSpPr>
            <p:cNvPr id="32" name="TextBox 31">
              <a:extLst>
                <a:ext uri="{FF2B5EF4-FFF2-40B4-BE49-F238E27FC236}">
                  <a16:creationId xmlns:a16="http://schemas.microsoft.com/office/drawing/2014/main" id="{72E27D98-9C49-41DA-BA0C-0C849FC7BB94}"/>
                </a:ext>
              </a:extLst>
            </p:cNvPr>
            <p:cNvSpPr txBox="1"/>
            <p:nvPr/>
          </p:nvSpPr>
          <p:spPr>
            <a:xfrm>
              <a:off x="4734153" y="1883372"/>
              <a:ext cx="439544" cy="276999"/>
            </a:xfrm>
            <a:prstGeom prst="rect">
              <a:avLst/>
            </a:prstGeom>
            <a:noFill/>
          </p:spPr>
          <p:txBody>
            <a:bodyPr wrap="none" rtlCol="0">
              <a:spAutoFit/>
            </a:bodyPr>
            <a:lstStyle/>
            <a:p>
              <a:pPr algn="r"/>
              <a:r>
                <a:rPr lang="en-US" sz="1200"/>
                <a:t>300</a:t>
              </a:r>
            </a:p>
          </p:txBody>
        </p:sp>
        <p:sp>
          <p:nvSpPr>
            <p:cNvPr id="33" name="TextBox 32">
              <a:extLst>
                <a:ext uri="{FF2B5EF4-FFF2-40B4-BE49-F238E27FC236}">
                  <a16:creationId xmlns:a16="http://schemas.microsoft.com/office/drawing/2014/main" id="{35A98D19-0D4C-4F20-8B2C-CE5A836BA9B2}"/>
                </a:ext>
              </a:extLst>
            </p:cNvPr>
            <p:cNvSpPr txBox="1"/>
            <p:nvPr/>
          </p:nvSpPr>
          <p:spPr>
            <a:xfrm>
              <a:off x="4734153" y="1241962"/>
              <a:ext cx="439544" cy="276999"/>
            </a:xfrm>
            <a:prstGeom prst="rect">
              <a:avLst/>
            </a:prstGeom>
            <a:noFill/>
          </p:spPr>
          <p:txBody>
            <a:bodyPr wrap="none" rtlCol="0">
              <a:spAutoFit/>
            </a:bodyPr>
            <a:lstStyle/>
            <a:p>
              <a:pPr algn="r"/>
              <a:r>
                <a:rPr lang="en-US" sz="1200"/>
                <a:t>400</a:t>
              </a:r>
            </a:p>
          </p:txBody>
        </p:sp>
        <p:sp>
          <p:nvSpPr>
            <p:cNvPr id="34" name="TextBox 33">
              <a:extLst>
                <a:ext uri="{FF2B5EF4-FFF2-40B4-BE49-F238E27FC236}">
                  <a16:creationId xmlns:a16="http://schemas.microsoft.com/office/drawing/2014/main" id="{D58FBF27-20B5-40A0-B170-970A4D7B9A25}"/>
                </a:ext>
              </a:extLst>
            </p:cNvPr>
            <p:cNvSpPr txBox="1"/>
            <p:nvPr/>
          </p:nvSpPr>
          <p:spPr>
            <a:xfrm>
              <a:off x="4734153" y="606940"/>
              <a:ext cx="439544" cy="276999"/>
            </a:xfrm>
            <a:prstGeom prst="rect">
              <a:avLst/>
            </a:prstGeom>
            <a:noFill/>
          </p:spPr>
          <p:txBody>
            <a:bodyPr wrap="none" rtlCol="0">
              <a:spAutoFit/>
            </a:bodyPr>
            <a:lstStyle/>
            <a:p>
              <a:pPr algn="r"/>
              <a:r>
                <a:rPr lang="en-US" sz="1200"/>
                <a:t>500</a:t>
              </a:r>
            </a:p>
          </p:txBody>
        </p:sp>
        <p:sp>
          <p:nvSpPr>
            <p:cNvPr id="35" name="TextBox 34">
              <a:extLst>
                <a:ext uri="{FF2B5EF4-FFF2-40B4-BE49-F238E27FC236}">
                  <a16:creationId xmlns:a16="http://schemas.microsoft.com/office/drawing/2014/main" id="{2475D4A4-4CDA-4F22-8C01-F53500FF7250}"/>
                </a:ext>
              </a:extLst>
            </p:cNvPr>
            <p:cNvSpPr txBox="1"/>
            <p:nvPr/>
          </p:nvSpPr>
          <p:spPr>
            <a:xfrm rot="16200000">
              <a:off x="3740667" y="2081925"/>
              <a:ext cx="1888204" cy="252622"/>
            </a:xfrm>
            <a:prstGeom prst="rect">
              <a:avLst/>
            </a:prstGeom>
            <a:noFill/>
          </p:spPr>
          <p:txBody>
            <a:bodyPr wrap="square" rtlCol="0">
              <a:spAutoFit/>
            </a:bodyPr>
            <a:lstStyle/>
            <a:p>
              <a:pPr algn="ctr"/>
              <a:r>
                <a:rPr lang="en-US" sz="1400"/>
                <a:t>Temperature (ºC)</a:t>
              </a:r>
            </a:p>
          </p:txBody>
        </p:sp>
        <p:sp>
          <p:nvSpPr>
            <p:cNvPr id="36" name="TextBox 35">
              <a:extLst>
                <a:ext uri="{FF2B5EF4-FFF2-40B4-BE49-F238E27FC236}">
                  <a16:creationId xmlns:a16="http://schemas.microsoft.com/office/drawing/2014/main" id="{FCB66956-C49D-4DC1-87AC-0D1660F5F466}"/>
                </a:ext>
              </a:extLst>
            </p:cNvPr>
            <p:cNvSpPr txBox="1"/>
            <p:nvPr/>
          </p:nvSpPr>
          <p:spPr>
            <a:xfrm>
              <a:off x="7008781" y="4141404"/>
              <a:ext cx="1888204" cy="307777"/>
            </a:xfrm>
            <a:prstGeom prst="rect">
              <a:avLst/>
            </a:prstGeom>
            <a:noFill/>
          </p:spPr>
          <p:txBody>
            <a:bodyPr wrap="square" rtlCol="0">
              <a:spAutoFit/>
            </a:bodyPr>
            <a:lstStyle/>
            <a:p>
              <a:pPr algn="ctr"/>
              <a:r>
                <a:rPr lang="en-US" sz="1400"/>
                <a:t>Minutes</a:t>
              </a:r>
            </a:p>
          </p:txBody>
        </p:sp>
      </p:grpSp>
      <p:sp>
        <p:nvSpPr>
          <p:cNvPr id="3" name="Rectangle 2">
            <a:extLst>
              <a:ext uri="{FF2B5EF4-FFF2-40B4-BE49-F238E27FC236}">
                <a16:creationId xmlns:a16="http://schemas.microsoft.com/office/drawing/2014/main" id="{A0B363CB-8D93-4AA6-B397-E1CD7AAFADA5}"/>
              </a:ext>
            </a:extLst>
          </p:cNvPr>
          <p:cNvSpPr/>
          <p:nvPr/>
        </p:nvSpPr>
        <p:spPr>
          <a:xfrm>
            <a:off x="837090" y="2109953"/>
            <a:ext cx="3537782" cy="51090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spAutoFit/>
          </a:bodyPr>
          <a:lstStyle/>
          <a:p>
            <a:pPr>
              <a:lnSpc>
                <a:spcPct val="85000"/>
              </a:lnSpc>
            </a:pPr>
            <a:r>
              <a:rPr lang="en-US" sz="1600">
                <a:solidFill>
                  <a:schemeClr val="tx1"/>
                </a:solidFill>
              </a:rPr>
              <a:t>The water evaporates leaving the dry-film uncured </a:t>
            </a:r>
          </a:p>
        </p:txBody>
      </p:sp>
      <p:sp>
        <p:nvSpPr>
          <p:cNvPr id="38" name="Rectangle 37">
            <a:extLst>
              <a:ext uri="{FF2B5EF4-FFF2-40B4-BE49-F238E27FC236}">
                <a16:creationId xmlns:a16="http://schemas.microsoft.com/office/drawing/2014/main" id="{EEF8B37A-B5B9-422C-A64D-7C6F253BEC17}"/>
              </a:ext>
            </a:extLst>
          </p:cNvPr>
          <p:cNvSpPr/>
          <p:nvPr/>
        </p:nvSpPr>
        <p:spPr>
          <a:xfrm>
            <a:off x="837090" y="3547129"/>
            <a:ext cx="3537782" cy="51090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spAutoFit/>
          </a:bodyPr>
          <a:lstStyle/>
          <a:p>
            <a:pPr>
              <a:lnSpc>
                <a:spcPct val="85000"/>
              </a:lnSpc>
            </a:pPr>
            <a:r>
              <a:rPr lang="en-US" sz="1600">
                <a:solidFill>
                  <a:schemeClr val="tx1"/>
                </a:solidFill>
              </a:rPr>
              <a:t>The binder resins start to </a:t>
            </a:r>
            <a:br>
              <a:rPr lang="en-US" sz="1600">
                <a:solidFill>
                  <a:schemeClr val="tx1"/>
                </a:solidFill>
              </a:rPr>
            </a:br>
            <a:r>
              <a:rPr lang="en-US" sz="1600">
                <a:solidFill>
                  <a:schemeClr val="tx1"/>
                </a:solidFill>
              </a:rPr>
              <a:t>melt and crosslink</a:t>
            </a:r>
          </a:p>
        </p:txBody>
      </p:sp>
      <p:sp>
        <p:nvSpPr>
          <p:cNvPr id="39" name="Rectangle 38">
            <a:extLst>
              <a:ext uri="{FF2B5EF4-FFF2-40B4-BE49-F238E27FC236}">
                <a16:creationId xmlns:a16="http://schemas.microsoft.com/office/drawing/2014/main" id="{8973F355-7007-4CDB-A753-9CC5DDFBCFA8}"/>
              </a:ext>
            </a:extLst>
          </p:cNvPr>
          <p:cNvSpPr/>
          <p:nvPr/>
        </p:nvSpPr>
        <p:spPr>
          <a:xfrm>
            <a:off x="837090" y="2723897"/>
            <a:ext cx="3534608" cy="7201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spAutoFit/>
          </a:bodyPr>
          <a:lstStyle/>
          <a:p>
            <a:pPr>
              <a:lnSpc>
                <a:spcPct val="85000"/>
              </a:lnSpc>
            </a:pPr>
            <a:r>
              <a:rPr lang="en-US" sz="1600">
                <a:solidFill>
                  <a:schemeClr val="tx1"/>
                </a:solidFill>
              </a:rPr>
              <a:t>Due to the high temperature, </a:t>
            </a:r>
            <a:br>
              <a:rPr lang="en-US" sz="1600">
                <a:solidFill>
                  <a:schemeClr val="tx1"/>
                </a:solidFill>
              </a:rPr>
            </a:br>
            <a:r>
              <a:rPr lang="en-US" sz="1600">
                <a:solidFill>
                  <a:schemeClr val="tx1"/>
                </a:solidFill>
              </a:rPr>
              <a:t>the additives begin to degrade </a:t>
            </a:r>
            <a:br>
              <a:rPr lang="en-US" sz="1600">
                <a:solidFill>
                  <a:schemeClr val="tx1"/>
                </a:solidFill>
              </a:rPr>
            </a:br>
            <a:r>
              <a:rPr lang="en-US" sz="1600">
                <a:solidFill>
                  <a:schemeClr val="tx1"/>
                </a:solidFill>
              </a:rPr>
              <a:t>and leave the film</a:t>
            </a:r>
          </a:p>
        </p:txBody>
      </p:sp>
      <p:sp>
        <p:nvSpPr>
          <p:cNvPr id="40" name="Rectangle 39">
            <a:extLst>
              <a:ext uri="{FF2B5EF4-FFF2-40B4-BE49-F238E27FC236}">
                <a16:creationId xmlns:a16="http://schemas.microsoft.com/office/drawing/2014/main" id="{A17D5E17-B793-4B42-99F3-903FECEF9F26}"/>
              </a:ext>
            </a:extLst>
          </p:cNvPr>
          <p:cNvSpPr/>
          <p:nvPr/>
        </p:nvSpPr>
        <p:spPr>
          <a:xfrm>
            <a:off x="837089" y="4370361"/>
            <a:ext cx="3537782" cy="3016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spAutoFit/>
          </a:bodyPr>
          <a:lstStyle/>
          <a:p>
            <a:pPr>
              <a:lnSpc>
                <a:spcPct val="85000"/>
              </a:lnSpc>
            </a:pPr>
            <a:r>
              <a:rPr lang="en-US" sz="1600">
                <a:solidFill>
                  <a:schemeClr val="tx1"/>
                </a:solidFill>
              </a:rPr>
              <a:t>The fluoropolymers melt and sinter</a:t>
            </a:r>
          </a:p>
        </p:txBody>
      </p:sp>
      <p:sp>
        <p:nvSpPr>
          <p:cNvPr id="41" name="Rectangle 40">
            <a:extLst>
              <a:ext uri="{FF2B5EF4-FFF2-40B4-BE49-F238E27FC236}">
                <a16:creationId xmlns:a16="http://schemas.microsoft.com/office/drawing/2014/main" id="{78614FD5-B686-46C2-A120-A9EF22D26F57}"/>
              </a:ext>
            </a:extLst>
          </p:cNvPr>
          <p:cNvSpPr/>
          <p:nvPr/>
        </p:nvSpPr>
        <p:spPr>
          <a:xfrm>
            <a:off x="832083" y="4890063"/>
            <a:ext cx="3749123" cy="92948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spAutoFit/>
          </a:bodyPr>
          <a:lstStyle/>
          <a:p>
            <a:pPr>
              <a:lnSpc>
                <a:spcPct val="85000"/>
              </a:lnSpc>
            </a:pPr>
            <a:r>
              <a:rPr lang="en-US" sz="1600">
                <a:solidFill>
                  <a:schemeClr val="tx1"/>
                </a:solidFill>
              </a:rPr>
              <a:t>The layers rearrange in the molten film; the fluoropolymers migrate to the top and the binders and fillers move to the bottom or rearrange within the layers.</a:t>
            </a:r>
          </a:p>
        </p:txBody>
      </p:sp>
      <p:sp>
        <p:nvSpPr>
          <p:cNvPr id="43" name="Oval 42">
            <a:extLst>
              <a:ext uri="{FF2B5EF4-FFF2-40B4-BE49-F238E27FC236}">
                <a16:creationId xmlns:a16="http://schemas.microsoft.com/office/drawing/2014/main" id="{2BD1ADAF-5191-4D9D-97C3-59370F3A1786}"/>
              </a:ext>
            </a:extLst>
          </p:cNvPr>
          <p:cNvSpPr/>
          <p:nvPr/>
        </p:nvSpPr>
        <p:spPr>
          <a:xfrm>
            <a:off x="321079" y="2122923"/>
            <a:ext cx="436348" cy="436346"/>
          </a:xfrm>
          <a:prstGeom prst="ellipse">
            <a:avLst/>
          </a:prstGeom>
          <a:solidFill>
            <a:schemeClr val="accent1"/>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1</a:t>
            </a:r>
          </a:p>
        </p:txBody>
      </p:sp>
      <p:sp>
        <p:nvSpPr>
          <p:cNvPr id="44" name="Oval 43">
            <a:extLst>
              <a:ext uri="{FF2B5EF4-FFF2-40B4-BE49-F238E27FC236}">
                <a16:creationId xmlns:a16="http://schemas.microsoft.com/office/drawing/2014/main" id="{666205C9-D443-4CFF-AE28-3C786A8F5948}"/>
              </a:ext>
            </a:extLst>
          </p:cNvPr>
          <p:cNvSpPr/>
          <p:nvPr/>
        </p:nvSpPr>
        <p:spPr>
          <a:xfrm>
            <a:off x="321079" y="2842060"/>
            <a:ext cx="436348" cy="436346"/>
          </a:xfrm>
          <a:prstGeom prst="ellipse">
            <a:avLst/>
          </a:prstGeom>
          <a:solidFill>
            <a:schemeClr val="accent2"/>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2</a:t>
            </a:r>
          </a:p>
        </p:txBody>
      </p:sp>
      <p:sp>
        <p:nvSpPr>
          <p:cNvPr id="45" name="Oval 44">
            <a:extLst>
              <a:ext uri="{FF2B5EF4-FFF2-40B4-BE49-F238E27FC236}">
                <a16:creationId xmlns:a16="http://schemas.microsoft.com/office/drawing/2014/main" id="{3AD52A8C-C9E9-4FDB-B3BC-ADA5BEC12AB9}"/>
              </a:ext>
            </a:extLst>
          </p:cNvPr>
          <p:cNvSpPr/>
          <p:nvPr/>
        </p:nvSpPr>
        <p:spPr>
          <a:xfrm>
            <a:off x="321079" y="3561197"/>
            <a:ext cx="436348" cy="436346"/>
          </a:xfrm>
          <a:prstGeom prst="ellipse">
            <a:avLst/>
          </a:prstGeom>
          <a:solidFill>
            <a:schemeClr val="accent4"/>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3</a:t>
            </a:r>
          </a:p>
        </p:txBody>
      </p:sp>
      <p:sp>
        <p:nvSpPr>
          <p:cNvPr id="46" name="Oval 45">
            <a:extLst>
              <a:ext uri="{FF2B5EF4-FFF2-40B4-BE49-F238E27FC236}">
                <a16:creationId xmlns:a16="http://schemas.microsoft.com/office/drawing/2014/main" id="{EE13A45E-3AC6-4CCD-BF1C-28D9581F2704}"/>
              </a:ext>
            </a:extLst>
          </p:cNvPr>
          <p:cNvSpPr/>
          <p:nvPr/>
        </p:nvSpPr>
        <p:spPr>
          <a:xfrm>
            <a:off x="321079" y="4280334"/>
            <a:ext cx="436348" cy="436346"/>
          </a:xfrm>
          <a:prstGeom prst="ellipse">
            <a:avLst/>
          </a:prstGeom>
          <a:solidFill>
            <a:schemeClr val="accent5"/>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4</a:t>
            </a:r>
          </a:p>
        </p:txBody>
      </p:sp>
      <p:sp>
        <p:nvSpPr>
          <p:cNvPr id="47" name="Oval 46">
            <a:extLst>
              <a:ext uri="{FF2B5EF4-FFF2-40B4-BE49-F238E27FC236}">
                <a16:creationId xmlns:a16="http://schemas.microsoft.com/office/drawing/2014/main" id="{5467DC49-549F-4B7F-9F51-AD89DD290FEB}"/>
              </a:ext>
            </a:extLst>
          </p:cNvPr>
          <p:cNvSpPr/>
          <p:nvPr/>
        </p:nvSpPr>
        <p:spPr>
          <a:xfrm>
            <a:off x="321079" y="4999472"/>
            <a:ext cx="436348" cy="436346"/>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5</a:t>
            </a:r>
          </a:p>
        </p:txBody>
      </p:sp>
      <p:sp>
        <p:nvSpPr>
          <p:cNvPr id="48" name="Oval 47">
            <a:extLst>
              <a:ext uri="{FF2B5EF4-FFF2-40B4-BE49-F238E27FC236}">
                <a16:creationId xmlns:a16="http://schemas.microsoft.com/office/drawing/2014/main" id="{6026D51A-C8B1-42B6-AB30-C13FD3519773}"/>
              </a:ext>
            </a:extLst>
          </p:cNvPr>
          <p:cNvSpPr/>
          <p:nvPr/>
        </p:nvSpPr>
        <p:spPr>
          <a:xfrm>
            <a:off x="5675065" y="5694762"/>
            <a:ext cx="313899" cy="313899"/>
          </a:xfrm>
          <a:prstGeom prst="ellipse">
            <a:avLst/>
          </a:prstGeom>
          <a:solidFill>
            <a:schemeClr val="accent1"/>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1</a:t>
            </a:r>
          </a:p>
        </p:txBody>
      </p:sp>
      <p:sp>
        <p:nvSpPr>
          <p:cNvPr id="49" name="Oval 48">
            <a:extLst>
              <a:ext uri="{FF2B5EF4-FFF2-40B4-BE49-F238E27FC236}">
                <a16:creationId xmlns:a16="http://schemas.microsoft.com/office/drawing/2014/main" id="{8CB28DF4-8DFA-4CCB-A898-4602DDE56960}"/>
              </a:ext>
            </a:extLst>
          </p:cNvPr>
          <p:cNvSpPr/>
          <p:nvPr/>
        </p:nvSpPr>
        <p:spPr>
          <a:xfrm>
            <a:off x="6632689" y="5286643"/>
            <a:ext cx="313899" cy="313899"/>
          </a:xfrm>
          <a:prstGeom prst="ellipse">
            <a:avLst/>
          </a:prstGeom>
          <a:solidFill>
            <a:schemeClr val="accent1"/>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1</a:t>
            </a:r>
          </a:p>
        </p:txBody>
      </p:sp>
      <p:sp>
        <p:nvSpPr>
          <p:cNvPr id="50" name="Oval 49">
            <a:extLst>
              <a:ext uri="{FF2B5EF4-FFF2-40B4-BE49-F238E27FC236}">
                <a16:creationId xmlns:a16="http://schemas.microsoft.com/office/drawing/2014/main" id="{089D5E50-0783-41D5-A65F-A43B2E162A49}"/>
              </a:ext>
            </a:extLst>
          </p:cNvPr>
          <p:cNvSpPr/>
          <p:nvPr/>
        </p:nvSpPr>
        <p:spPr>
          <a:xfrm>
            <a:off x="7383683" y="5063122"/>
            <a:ext cx="313899" cy="313899"/>
          </a:xfrm>
          <a:prstGeom prst="ellipse">
            <a:avLst/>
          </a:prstGeom>
          <a:solidFill>
            <a:schemeClr val="accent2"/>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2</a:t>
            </a:r>
          </a:p>
        </p:txBody>
      </p:sp>
      <p:sp>
        <p:nvSpPr>
          <p:cNvPr id="51" name="Oval 50">
            <a:extLst>
              <a:ext uri="{FF2B5EF4-FFF2-40B4-BE49-F238E27FC236}">
                <a16:creationId xmlns:a16="http://schemas.microsoft.com/office/drawing/2014/main" id="{513346F3-A2B4-4732-A824-82858C5311A5}"/>
              </a:ext>
            </a:extLst>
          </p:cNvPr>
          <p:cNvSpPr/>
          <p:nvPr/>
        </p:nvSpPr>
        <p:spPr>
          <a:xfrm>
            <a:off x="7975843" y="4017164"/>
            <a:ext cx="313899" cy="313899"/>
          </a:xfrm>
          <a:prstGeom prst="ellipse">
            <a:avLst/>
          </a:prstGeom>
          <a:solidFill>
            <a:schemeClr val="accent2"/>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2</a:t>
            </a:r>
          </a:p>
        </p:txBody>
      </p:sp>
      <p:sp>
        <p:nvSpPr>
          <p:cNvPr id="52" name="Oval 51">
            <a:extLst>
              <a:ext uri="{FF2B5EF4-FFF2-40B4-BE49-F238E27FC236}">
                <a16:creationId xmlns:a16="http://schemas.microsoft.com/office/drawing/2014/main" id="{D4243CAE-00A2-4B71-A606-300401252C1C}"/>
              </a:ext>
            </a:extLst>
          </p:cNvPr>
          <p:cNvSpPr/>
          <p:nvPr/>
        </p:nvSpPr>
        <p:spPr>
          <a:xfrm>
            <a:off x="7547197" y="4704087"/>
            <a:ext cx="313899" cy="313899"/>
          </a:xfrm>
          <a:prstGeom prst="ellipse">
            <a:avLst/>
          </a:prstGeom>
          <a:solidFill>
            <a:schemeClr val="accent4"/>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3</a:t>
            </a:r>
          </a:p>
        </p:txBody>
      </p:sp>
      <p:sp>
        <p:nvSpPr>
          <p:cNvPr id="53" name="Oval 52">
            <a:extLst>
              <a:ext uri="{FF2B5EF4-FFF2-40B4-BE49-F238E27FC236}">
                <a16:creationId xmlns:a16="http://schemas.microsoft.com/office/drawing/2014/main" id="{FF09E513-2329-430A-9956-281408C1BF18}"/>
              </a:ext>
            </a:extLst>
          </p:cNvPr>
          <p:cNvSpPr/>
          <p:nvPr/>
        </p:nvSpPr>
        <p:spPr>
          <a:xfrm>
            <a:off x="7764678" y="4336561"/>
            <a:ext cx="313899" cy="313899"/>
          </a:xfrm>
          <a:prstGeom prst="ellipse">
            <a:avLst/>
          </a:prstGeom>
          <a:solidFill>
            <a:schemeClr val="accent4"/>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3</a:t>
            </a:r>
          </a:p>
        </p:txBody>
      </p:sp>
      <p:sp>
        <p:nvSpPr>
          <p:cNvPr id="54" name="Oval 53">
            <a:extLst>
              <a:ext uri="{FF2B5EF4-FFF2-40B4-BE49-F238E27FC236}">
                <a16:creationId xmlns:a16="http://schemas.microsoft.com/office/drawing/2014/main" id="{26C2A359-C3DE-4D75-BE44-C77E211DD43D}"/>
              </a:ext>
            </a:extLst>
          </p:cNvPr>
          <p:cNvSpPr/>
          <p:nvPr/>
        </p:nvSpPr>
        <p:spPr>
          <a:xfrm>
            <a:off x="7943125" y="3515159"/>
            <a:ext cx="313899" cy="313899"/>
          </a:xfrm>
          <a:prstGeom prst="ellipse">
            <a:avLst/>
          </a:prstGeom>
          <a:solidFill>
            <a:schemeClr val="accent5"/>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4</a:t>
            </a:r>
          </a:p>
        </p:txBody>
      </p:sp>
      <p:sp>
        <p:nvSpPr>
          <p:cNvPr id="55" name="Oval 54">
            <a:extLst>
              <a:ext uri="{FF2B5EF4-FFF2-40B4-BE49-F238E27FC236}">
                <a16:creationId xmlns:a16="http://schemas.microsoft.com/office/drawing/2014/main" id="{ED1E7253-3FE7-403A-A675-988423241A72}"/>
              </a:ext>
            </a:extLst>
          </p:cNvPr>
          <p:cNvSpPr/>
          <p:nvPr/>
        </p:nvSpPr>
        <p:spPr>
          <a:xfrm>
            <a:off x="8844305" y="3227767"/>
            <a:ext cx="313899" cy="313899"/>
          </a:xfrm>
          <a:prstGeom prst="ellipse">
            <a:avLst/>
          </a:prstGeom>
          <a:solidFill>
            <a:schemeClr val="accent5"/>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4</a:t>
            </a:r>
          </a:p>
        </p:txBody>
      </p:sp>
      <p:sp>
        <p:nvSpPr>
          <p:cNvPr id="56" name="Oval 55">
            <a:extLst>
              <a:ext uri="{FF2B5EF4-FFF2-40B4-BE49-F238E27FC236}">
                <a16:creationId xmlns:a16="http://schemas.microsoft.com/office/drawing/2014/main" id="{3AF710A6-A288-4E8F-92FE-C3A25D7B8AC9}"/>
              </a:ext>
            </a:extLst>
          </p:cNvPr>
          <p:cNvSpPr/>
          <p:nvPr/>
        </p:nvSpPr>
        <p:spPr>
          <a:xfrm>
            <a:off x="9660541" y="3149408"/>
            <a:ext cx="313899" cy="313899"/>
          </a:xfrm>
          <a:prstGeom prst="ellipse">
            <a:avLst/>
          </a:prstGeom>
          <a:solidFill>
            <a:schemeClr val="accent6"/>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a:t>5</a:t>
            </a:r>
          </a:p>
        </p:txBody>
      </p:sp>
      <p:grpSp>
        <p:nvGrpSpPr>
          <p:cNvPr id="57" name="Group 56">
            <a:extLst>
              <a:ext uri="{FF2B5EF4-FFF2-40B4-BE49-F238E27FC236}">
                <a16:creationId xmlns:a16="http://schemas.microsoft.com/office/drawing/2014/main" id="{36D87BA6-1787-4BB0-9069-F7E0D289EE77}"/>
              </a:ext>
            </a:extLst>
          </p:cNvPr>
          <p:cNvGrpSpPr/>
          <p:nvPr/>
        </p:nvGrpSpPr>
        <p:grpSpPr>
          <a:xfrm>
            <a:off x="135108" y="232406"/>
            <a:ext cx="721039" cy="721033"/>
            <a:chOff x="6580706" y="1735325"/>
            <a:chExt cx="2757179" cy="2757157"/>
          </a:xfrm>
        </p:grpSpPr>
        <p:sp>
          <p:nvSpPr>
            <p:cNvPr id="58" name="Freeform: Shape 57">
              <a:extLst>
                <a:ext uri="{FF2B5EF4-FFF2-40B4-BE49-F238E27FC236}">
                  <a16:creationId xmlns:a16="http://schemas.microsoft.com/office/drawing/2014/main" id="{75D045E6-7C18-4679-8135-67549D53B3B0}"/>
                </a:ext>
              </a:extLst>
            </p:cNvPr>
            <p:cNvSpPr/>
            <p:nvPr/>
          </p:nvSpPr>
          <p:spPr>
            <a:xfrm>
              <a:off x="7270770" y="3113785"/>
              <a:ext cx="2066925" cy="1378697"/>
            </a:xfrm>
            <a:custGeom>
              <a:avLst/>
              <a:gdLst>
                <a:gd name="connsiteX0" fmla="*/ -244 w 2066925"/>
                <a:gd name="connsiteY0" fmla="*/ 1194306 h 1378697"/>
                <a:gd name="connsiteX1" fmla="*/ 1882649 w 2066925"/>
                <a:gd name="connsiteY1" fmla="*/ 687776 h 1378697"/>
                <a:gd name="connsiteX2" fmla="*/ 2066682 w 2066925"/>
                <a:gd name="connsiteY2" fmla="*/ -129 h 1378697"/>
                <a:gd name="connsiteX3" fmla="*/ 688414 w 2066925"/>
                <a:gd name="connsiteY3" fmla="*/ -129 h 1378697"/>
              </a:gdLst>
              <a:ahLst/>
              <a:cxnLst>
                <a:cxn ang="0">
                  <a:pos x="connsiteX0" y="connsiteY0"/>
                </a:cxn>
                <a:cxn ang="0">
                  <a:pos x="connsiteX1" y="connsiteY1"/>
                </a:cxn>
                <a:cxn ang="0">
                  <a:pos x="connsiteX2" y="connsiteY2"/>
                </a:cxn>
                <a:cxn ang="0">
                  <a:pos x="connsiteX3" y="connsiteY3"/>
                </a:cxn>
              </a:cxnLst>
              <a:rect l="l" t="t" r="r" b="b"/>
              <a:pathLst>
                <a:path w="2066925" h="1378697">
                  <a:moveTo>
                    <a:pt x="-244" y="1194306"/>
                  </a:moveTo>
                  <a:cubicBezTo>
                    <a:pt x="659582" y="1574382"/>
                    <a:pt x="1502583" y="1347592"/>
                    <a:pt x="1882649" y="687776"/>
                  </a:cubicBezTo>
                  <a:cubicBezTo>
                    <a:pt x="2003169" y="478540"/>
                    <a:pt x="2066634" y="241330"/>
                    <a:pt x="2066682" y="-129"/>
                  </a:cubicBezTo>
                  <a:lnTo>
                    <a:pt x="688414" y="-129"/>
                  </a:lnTo>
                  <a:close/>
                </a:path>
              </a:pathLst>
            </a:custGeom>
            <a:solidFill>
              <a:schemeClr val="bg2">
                <a:lumMod val="85000"/>
              </a:schemeClr>
            </a:solidFill>
            <a:ln w="28575" cap="flat">
              <a:solidFill>
                <a:schemeClr val="bg1"/>
              </a:solid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BE528F4A-C603-49A3-89E3-BCB5DB38040F}"/>
                </a:ext>
              </a:extLst>
            </p:cNvPr>
            <p:cNvSpPr/>
            <p:nvPr/>
          </p:nvSpPr>
          <p:spPr>
            <a:xfrm>
              <a:off x="6580706" y="1920017"/>
              <a:ext cx="1378721" cy="2388203"/>
            </a:xfrm>
            <a:custGeom>
              <a:avLst/>
              <a:gdLst>
                <a:gd name="connsiteX0" fmla="*/ 688772 w 1378721"/>
                <a:gd name="connsiteY0" fmla="*/ -129 h 2388203"/>
                <a:gd name="connsiteX1" fmla="*/ 185119 w 1378721"/>
                <a:gd name="connsiteY1" fmla="*/ 1883821 h 2388203"/>
                <a:gd name="connsiteX2" fmla="*/ 689820 w 1378721"/>
                <a:gd name="connsiteY2" fmla="*/ 2388074 h 2388203"/>
                <a:gd name="connsiteX3" fmla="*/ 1378478 w 1378721"/>
                <a:gd name="connsiteY3" fmla="*/ 1193639 h 2388203"/>
              </a:gdLst>
              <a:ahLst/>
              <a:cxnLst>
                <a:cxn ang="0">
                  <a:pos x="connsiteX0" y="connsiteY0"/>
                </a:cxn>
                <a:cxn ang="0">
                  <a:pos x="connsiteX1" y="connsiteY1"/>
                </a:cxn>
                <a:cxn ang="0">
                  <a:pos x="connsiteX2" y="connsiteY2"/>
                </a:cxn>
                <a:cxn ang="0">
                  <a:pos x="connsiteX3" y="connsiteY3"/>
                </a:cxn>
              </a:cxnLst>
              <a:rect l="l" t="t" r="r" b="b"/>
              <a:pathLst>
                <a:path w="1378721" h="2388203">
                  <a:moveTo>
                    <a:pt x="688772" y="-129"/>
                  </a:moveTo>
                  <a:cubicBezTo>
                    <a:pt x="29452" y="381033"/>
                    <a:pt x="-196033" y="1224500"/>
                    <a:pt x="185119" y="1883821"/>
                  </a:cubicBezTo>
                  <a:cubicBezTo>
                    <a:pt x="306201" y="2093266"/>
                    <a:pt x="480261" y="2267173"/>
                    <a:pt x="689820" y="2388074"/>
                  </a:cubicBezTo>
                  <a:lnTo>
                    <a:pt x="1378478" y="1193639"/>
                  </a:lnTo>
                  <a:close/>
                </a:path>
              </a:pathLst>
            </a:custGeom>
            <a:solidFill>
              <a:schemeClr val="accent5"/>
            </a:solidFill>
            <a:ln w="28575" cap="flat">
              <a:solidFill>
                <a:schemeClr val="bg1"/>
              </a:solid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57E5B2B-4719-4213-B717-B6C50C8F99D7}"/>
                </a:ext>
              </a:extLst>
            </p:cNvPr>
            <p:cNvSpPr/>
            <p:nvPr/>
          </p:nvSpPr>
          <p:spPr>
            <a:xfrm>
              <a:off x="7269722" y="1735325"/>
              <a:ext cx="2068163" cy="1378459"/>
            </a:xfrm>
            <a:custGeom>
              <a:avLst/>
              <a:gdLst>
                <a:gd name="connsiteX0" fmla="*/ 689462 w 2068163"/>
                <a:gd name="connsiteY0" fmla="*/ -128 h 1378459"/>
                <a:gd name="connsiteX1" fmla="*/ -244 w 2068163"/>
                <a:gd name="connsiteY1" fmla="*/ 184562 h 1378459"/>
                <a:gd name="connsiteX2" fmla="*/ 689462 w 2068163"/>
                <a:gd name="connsiteY2" fmla="*/ 1378330 h 1378459"/>
                <a:gd name="connsiteX3" fmla="*/ 2067920 w 2068163"/>
                <a:gd name="connsiteY3" fmla="*/ 1378330 h 1378459"/>
                <a:gd name="connsiteX4" fmla="*/ 689462 w 2068163"/>
                <a:gd name="connsiteY4" fmla="*/ -128 h 137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8163" h="1378459">
                  <a:moveTo>
                    <a:pt x="689462" y="-128"/>
                  </a:moveTo>
                  <a:cubicBezTo>
                    <a:pt x="447289" y="-499"/>
                    <a:pt x="209335" y="63223"/>
                    <a:pt x="-244" y="184562"/>
                  </a:cubicBezTo>
                  <a:lnTo>
                    <a:pt x="689462" y="1378330"/>
                  </a:lnTo>
                  <a:lnTo>
                    <a:pt x="2067920" y="1378330"/>
                  </a:lnTo>
                  <a:cubicBezTo>
                    <a:pt x="2067920" y="617026"/>
                    <a:pt x="1450767" y="-128"/>
                    <a:pt x="689462" y="-128"/>
                  </a:cubicBezTo>
                  <a:close/>
                </a:path>
              </a:pathLst>
            </a:custGeom>
            <a:solidFill>
              <a:schemeClr val="bg2">
                <a:lumMod val="85000"/>
              </a:schemeClr>
            </a:solidFill>
            <a:ln w="28575" cap="flat">
              <a:solidFill>
                <a:schemeClr val="bg1"/>
              </a:solidFill>
              <a:prstDash val="solid"/>
              <a:miter/>
            </a:ln>
          </p:spPr>
          <p:txBody>
            <a:bodyPr rtlCol="0" anchor="ctr"/>
            <a:lstStyle/>
            <a:p>
              <a:endParaRPr lang="en-US"/>
            </a:p>
          </p:txBody>
        </p:sp>
      </p:grpSp>
      <p:pic>
        <p:nvPicPr>
          <p:cNvPr id="63" name="Picture 62">
            <a:extLst>
              <a:ext uri="{FF2B5EF4-FFF2-40B4-BE49-F238E27FC236}">
                <a16:creationId xmlns:a16="http://schemas.microsoft.com/office/drawing/2014/main" id="{EE2BF23E-70AF-4373-B911-25846D8F6305}"/>
              </a:ext>
            </a:extLst>
          </p:cNvPr>
          <p:cNvPicPr>
            <a:picLocks noChangeAspect="1"/>
          </p:cNvPicPr>
          <p:nvPr/>
        </p:nvPicPr>
        <p:blipFill>
          <a:blip r:embed="rId3"/>
          <a:srcRect/>
          <a:stretch/>
        </p:blipFill>
        <p:spPr>
          <a:xfrm>
            <a:off x="9723193" y="1493927"/>
            <a:ext cx="1747110" cy="551347"/>
          </a:xfrm>
          <a:prstGeom prst="rect">
            <a:avLst/>
          </a:prstGeom>
        </p:spPr>
      </p:pic>
      <p:pic>
        <p:nvPicPr>
          <p:cNvPr id="65" name="Picture 64" descr="Chart, bubble chart&#10;&#10;Description automatically generated">
            <a:extLst>
              <a:ext uri="{FF2B5EF4-FFF2-40B4-BE49-F238E27FC236}">
                <a16:creationId xmlns:a16="http://schemas.microsoft.com/office/drawing/2014/main" id="{0EA1376D-2E34-46FF-965B-A6F924CD9377}"/>
              </a:ext>
            </a:extLst>
          </p:cNvPr>
          <p:cNvPicPr>
            <a:picLocks noChangeAspect="1"/>
          </p:cNvPicPr>
          <p:nvPr/>
        </p:nvPicPr>
        <p:blipFill>
          <a:blip r:embed="rId4"/>
          <a:stretch>
            <a:fillRect/>
          </a:stretch>
        </p:blipFill>
        <p:spPr>
          <a:xfrm>
            <a:off x="5318821" y="1278182"/>
            <a:ext cx="1747110" cy="767093"/>
          </a:xfrm>
          <a:prstGeom prst="rect">
            <a:avLst/>
          </a:prstGeom>
        </p:spPr>
      </p:pic>
      <p:pic>
        <p:nvPicPr>
          <p:cNvPr id="67" name="Picture 66" descr="Bubble chart&#10;&#10;Description automatically generated">
            <a:extLst>
              <a:ext uri="{FF2B5EF4-FFF2-40B4-BE49-F238E27FC236}">
                <a16:creationId xmlns:a16="http://schemas.microsoft.com/office/drawing/2014/main" id="{9F629366-86D8-43B9-89B5-4F4CC5AC3C96}"/>
              </a:ext>
            </a:extLst>
          </p:cNvPr>
          <p:cNvPicPr>
            <a:picLocks noChangeAspect="1"/>
          </p:cNvPicPr>
          <p:nvPr/>
        </p:nvPicPr>
        <p:blipFill>
          <a:blip r:embed="rId5"/>
          <a:stretch>
            <a:fillRect/>
          </a:stretch>
        </p:blipFill>
        <p:spPr>
          <a:xfrm>
            <a:off x="7491010" y="1423422"/>
            <a:ext cx="1747111" cy="621853"/>
          </a:xfrm>
          <a:prstGeom prst="rect">
            <a:avLst/>
          </a:prstGeom>
        </p:spPr>
      </p:pic>
      <p:sp>
        <p:nvSpPr>
          <p:cNvPr id="68" name="TextBox 67">
            <a:extLst>
              <a:ext uri="{FF2B5EF4-FFF2-40B4-BE49-F238E27FC236}">
                <a16:creationId xmlns:a16="http://schemas.microsoft.com/office/drawing/2014/main" id="{08FE9DD5-00D3-4353-A290-F1866C681F0C}"/>
              </a:ext>
            </a:extLst>
          </p:cNvPr>
          <p:cNvSpPr txBox="1"/>
          <p:nvPr/>
        </p:nvSpPr>
        <p:spPr>
          <a:xfrm>
            <a:off x="5385030" y="2078237"/>
            <a:ext cx="1614691" cy="286232"/>
          </a:xfrm>
          <a:prstGeom prst="rect">
            <a:avLst/>
          </a:prstGeom>
          <a:noFill/>
        </p:spPr>
        <p:txBody>
          <a:bodyPr wrap="square">
            <a:spAutoFit/>
          </a:bodyPr>
          <a:lstStyle/>
          <a:p>
            <a:pPr marL="0" lvl="2" algn="ctr">
              <a:lnSpc>
                <a:spcPct val="90000"/>
              </a:lnSpc>
            </a:pPr>
            <a:r>
              <a:rPr lang="en-US" sz="1400"/>
              <a:t>Coating Applied</a:t>
            </a:r>
          </a:p>
        </p:txBody>
      </p:sp>
      <p:sp>
        <p:nvSpPr>
          <p:cNvPr id="69" name="TextBox 68">
            <a:extLst>
              <a:ext uri="{FF2B5EF4-FFF2-40B4-BE49-F238E27FC236}">
                <a16:creationId xmlns:a16="http://schemas.microsoft.com/office/drawing/2014/main" id="{200A2768-43F0-491F-B387-8A78022CA9B9}"/>
              </a:ext>
            </a:extLst>
          </p:cNvPr>
          <p:cNvSpPr txBox="1"/>
          <p:nvPr/>
        </p:nvSpPr>
        <p:spPr>
          <a:xfrm>
            <a:off x="7538942" y="2078237"/>
            <a:ext cx="1614691" cy="286232"/>
          </a:xfrm>
          <a:prstGeom prst="rect">
            <a:avLst/>
          </a:prstGeom>
          <a:noFill/>
        </p:spPr>
        <p:txBody>
          <a:bodyPr wrap="square">
            <a:spAutoFit/>
          </a:bodyPr>
          <a:lstStyle/>
          <a:p>
            <a:pPr marL="0" lvl="2" algn="ctr">
              <a:lnSpc>
                <a:spcPct val="90000"/>
              </a:lnSpc>
            </a:pPr>
            <a:r>
              <a:rPr lang="en-US" sz="1400"/>
              <a:t>Coating Dried</a:t>
            </a:r>
          </a:p>
        </p:txBody>
      </p:sp>
      <p:sp>
        <p:nvSpPr>
          <p:cNvPr id="70" name="TextBox 69">
            <a:extLst>
              <a:ext uri="{FF2B5EF4-FFF2-40B4-BE49-F238E27FC236}">
                <a16:creationId xmlns:a16="http://schemas.microsoft.com/office/drawing/2014/main" id="{ECE7551A-213C-40F2-83B3-7DB3BEF95C14}"/>
              </a:ext>
            </a:extLst>
          </p:cNvPr>
          <p:cNvSpPr txBox="1"/>
          <p:nvPr/>
        </p:nvSpPr>
        <p:spPr>
          <a:xfrm>
            <a:off x="9744192" y="2078237"/>
            <a:ext cx="1726112" cy="480131"/>
          </a:xfrm>
          <a:prstGeom prst="rect">
            <a:avLst/>
          </a:prstGeom>
          <a:noFill/>
        </p:spPr>
        <p:txBody>
          <a:bodyPr wrap="square">
            <a:spAutoFit/>
          </a:bodyPr>
          <a:lstStyle/>
          <a:p>
            <a:pPr marL="0" lvl="2" algn="ctr">
              <a:lnSpc>
                <a:spcPct val="90000"/>
              </a:lnSpc>
            </a:pPr>
            <a:r>
              <a:rPr lang="en-US" sz="1400"/>
              <a:t>FP melts, stratifies into gradient</a:t>
            </a:r>
          </a:p>
        </p:txBody>
      </p:sp>
      <p:sp>
        <p:nvSpPr>
          <p:cNvPr id="71" name="TextBox 70">
            <a:extLst>
              <a:ext uri="{FF2B5EF4-FFF2-40B4-BE49-F238E27FC236}">
                <a16:creationId xmlns:a16="http://schemas.microsoft.com/office/drawing/2014/main" id="{607FB7EF-9841-4C5E-B2D2-D50F6B789C17}"/>
              </a:ext>
            </a:extLst>
          </p:cNvPr>
          <p:cNvSpPr txBox="1"/>
          <p:nvPr/>
        </p:nvSpPr>
        <p:spPr>
          <a:xfrm>
            <a:off x="6909523" y="576925"/>
            <a:ext cx="877582" cy="480131"/>
          </a:xfrm>
          <a:prstGeom prst="rect">
            <a:avLst/>
          </a:prstGeom>
          <a:noFill/>
        </p:spPr>
        <p:txBody>
          <a:bodyPr wrap="square">
            <a:spAutoFit/>
          </a:bodyPr>
          <a:lstStyle/>
          <a:p>
            <a:pPr marL="0" lvl="2" algn="ctr">
              <a:lnSpc>
                <a:spcPct val="90000"/>
              </a:lnSpc>
            </a:pPr>
            <a:r>
              <a:rPr lang="en-US" sz="1400"/>
              <a:t>Resin </a:t>
            </a:r>
            <a:br>
              <a:rPr lang="en-US" sz="1400"/>
            </a:br>
            <a:r>
              <a:rPr lang="en-US" sz="1400"/>
              <a:t>solution</a:t>
            </a:r>
          </a:p>
        </p:txBody>
      </p:sp>
      <p:sp>
        <p:nvSpPr>
          <p:cNvPr id="72" name="TextBox 71">
            <a:extLst>
              <a:ext uri="{FF2B5EF4-FFF2-40B4-BE49-F238E27FC236}">
                <a16:creationId xmlns:a16="http://schemas.microsoft.com/office/drawing/2014/main" id="{D2F6B783-D8A3-4AF8-A0DB-83F5B172B17F}"/>
              </a:ext>
            </a:extLst>
          </p:cNvPr>
          <p:cNvSpPr txBox="1"/>
          <p:nvPr/>
        </p:nvSpPr>
        <p:spPr>
          <a:xfrm>
            <a:off x="4856731" y="476107"/>
            <a:ext cx="1368412" cy="480131"/>
          </a:xfrm>
          <a:prstGeom prst="rect">
            <a:avLst/>
          </a:prstGeom>
          <a:noFill/>
        </p:spPr>
        <p:txBody>
          <a:bodyPr wrap="square">
            <a:spAutoFit/>
          </a:bodyPr>
          <a:lstStyle/>
          <a:p>
            <a:pPr marL="0" lvl="2" algn="ctr">
              <a:lnSpc>
                <a:spcPct val="90000"/>
              </a:lnSpc>
            </a:pPr>
            <a:r>
              <a:rPr lang="en-US" sz="1400"/>
              <a:t>Fluoropolymer</a:t>
            </a:r>
          </a:p>
          <a:p>
            <a:pPr marL="0" lvl="2" algn="ctr">
              <a:lnSpc>
                <a:spcPct val="90000"/>
              </a:lnSpc>
            </a:pPr>
            <a:r>
              <a:rPr lang="en-US" sz="1400"/>
              <a:t>particles</a:t>
            </a:r>
          </a:p>
        </p:txBody>
      </p:sp>
      <p:cxnSp>
        <p:nvCxnSpPr>
          <p:cNvPr id="74" name="Straight Arrow Connector 73">
            <a:extLst>
              <a:ext uri="{FF2B5EF4-FFF2-40B4-BE49-F238E27FC236}">
                <a16:creationId xmlns:a16="http://schemas.microsoft.com/office/drawing/2014/main" id="{709627C7-1A7D-4BAF-80FD-BA5DAF5A0CC3}"/>
              </a:ext>
            </a:extLst>
          </p:cNvPr>
          <p:cNvCxnSpPr>
            <a:stCxn id="71" idx="2"/>
          </p:cNvCxnSpPr>
          <p:nvPr/>
        </p:nvCxnSpPr>
        <p:spPr>
          <a:xfrm flipH="1">
            <a:off x="6999721" y="1057056"/>
            <a:ext cx="348593" cy="425626"/>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6" name="Straight Arrow Connector 75">
            <a:extLst>
              <a:ext uri="{FF2B5EF4-FFF2-40B4-BE49-F238E27FC236}">
                <a16:creationId xmlns:a16="http://schemas.microsoft.com/office/drawing/2014/main" id="{B0E341DE-32FF-4419-8ECD-DD73699AEAE8}"/>
              </a:ext>
            </a:extLst>
          </p:cNvPr>
          <p:cNvCxnSpPr>
            <a:cxnSpLocks/>
            <a:stCxn id="72" idx="2"/>
          </p:cNvCxnSpPr>
          <p:nvPr/>
        </p:nvCxnSpPr>
        <p:spPr>
          <a:xfrm>
            <a:off x="5540937" y="956238"/>
            <a:ext cx="418074" cy="442615"/>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5">
            <a:extLst>
              <a:ext uri="{FF2B5EF4-FFF2-40B4-BE49-F238E27FC236}">
                <a16:creationId xmlns:a16="http://schemas.microsoft.com/office/drawing/2014/main" id="{1124E326-D692-2CFA-F622-E238FB6DB88D}"/>
              </a:ext>
            </a:extLst>
          </p:cNvPr>
          <p:cNvSpPr txBox="1"/>
          <p:nvPr/>
        </p:nvSpPr>
        <p:spPr>
          <a:xfrm>
            <a:off x="527591" y="6022296"/>
            <a:ext cx="4392322" cy="646331"/>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a:t>Note: a similar cure profile occurs with silicone release coatings but with different times, temperatures and different polymer reactions.</a:t>
            </a:r>
          </a:p>
        </p:txBody>
      </p:sp>
    </p:spTree>
    <p:extLst>
      <p:ext uri="{BB962C8B-B14F-4D97-AF65-F5344CB8AC3E}">
        <p14:creationId xmlns:p14="http://schemas.microsoft.com/office/powerpoint/2010/main" val="23298024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1306B73-FFEE-4EC9-B968-BC473E53A62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9736440" cy="6858000"/>
          </a:xfrm>
          <a:prstGeom prst="rect">
            <a:avLst/>
          </a:prstGeom>
        </p:spPr>
      </p:pic>
      <p:grpSp>
        <p:nvGrpSpPr>
          <p:cNvPr id="4" name="Group 3">
            <a:extLst>
              <a:ext uri="{FF2B5EF4-FFF2-40B4-BE49-F238E27FC236}">
                <a16:creationId xmlns:a16="http://schemas.microsoft.com/office/drawing/2014/main" id="{CA260969-FA69-479D-B498-F9C904F57691}"/>
              </a:ext>
            </a:extLst>
          </p:cNvPr>
          <p:cNvGrpSpPr/>
          <p:nvPr/>
        </p:nvGrpSpPr>
        <p:grpSpPr>
          <a:xfrm>
            <a:off x="6283993" y="892"/>
            <a:ext cx="5892156" cy="6857108"/>
            <a:chOff x="6296668" y="892"/>
            <a:chExt cx="5892156" cy="6891986"/>
          </a:xfrm>
        </p:grpSpPr>
        <p:sp>
          <p:nvSpPr>
            <p:cNvPr id="13" name="Rectangle 12">
              <a:extLst>
                <a:ext uri="{FF2B5EF4-FFF2-40B4-BE49-F238E27FC236}">
                  <a16:creationId xmlns:a16="http://schemas.microsoft.com/office/drawing/2014/main" id="{C740A495-D4A6-4E7E-98D7-205AE088D76B}"/>
                </a:ext>
              </a:extLst>
            </p:cNvPr>
            <p:cNvSpPr/>
            <p:nvPr/>
          </p:nvSpPr>
          <p:spPr>
            <a:xfrm>
              <a:off x="9766872" y="892"/>
              <a:ext cx="2421952" cy="689198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14" name="Rectangle 5">
              <a:extLst>
                <a:ext uri="{FF2B5EF4-FFF2-40B4-BE49-F238E27FC236}">
                  <a16:creationId xmlns:a16="http://schemas.microsoft.com/office/drawing/2014/main" id="{AC225862-0158-4FFC-8A18-F1026C5D6914}"/>
                </a:ext>
              </a:extLst>
            </p:cNvPr>
            <p:cNvSpPr/>
            <p:nvPr/>
          </p:nvSpPr>
          <p:spPr>
            <a:xfrm>
              <a:off x="6296668" y="892"/>
              <a:ext cx="3508228" cy="6891986"/>
            </a:xfrm>
            <a:custGeom>
              <a:avLst/>
              <a:gdLst>
                <a:gd name="connsiteX0" fmla="*/ 0 w 5613621"/>
                <a:gd name="connsiteY0" fmla="*/ 0 h 5613621"/>
                <a:gd name="connsiteX1" fmla="*/ 5613621 w 5613621"/>
                <a:gd name="connsiteY1" fmla="*/ 0 h 5613621"/>
                <a:gd name="connsiteX2" fmla="*/ 5613621 w 5613621"/>
                <a:gd name="connsiteY2" fmla="*/ 5613621 h 5613621"/>
                <a:gd name="connsiteX3" fmla="*/ 0 w 5613621"/>
                <a:gd name="connsiteY3" fmla="*/ 5613621 h 5613621"/>
                <a:gd name="connsiteX4" fmla="*/ 0 w 5613621"/>
                <a:gd name="connsiteY4" fmla="*/ 0 h 5613621"/>
                <a:gd name="connsiteX0" fmla="*/ 0 w 5613621"/>
                <a:gd name="connsiteY0" fmla="*/ 5613621 h 5613621"/>
                <a:gd name="connsiteX1" fmla="*/ 5613621 w 5613621"/>
                <a:gd name="connsiteY1" fmla="*/ 0 h 5613621"/>
                <a:gd name="connsiteX2" fmla="*/ 5613621 w 5613621"/>
                <a:gd name="connsiteY2" fmla="*/ 5613621 h 5613621"/>
                <a:gd name="connsiteX3" fmla="*/ 0 w 5613621"/>
                <a:gd name="connsiteY3" fmla="*/ 5613621 h 5613621"/>
              </a:gdLst>
              <a:ahLst/>
              <a:cxnLst>
                <a:cxn ang="0">
                  <a:pos x="connsiteX0" y="connsiteY0"/>
                </a:cxn>
                <a:cxn ang="0">
                  <a:pos x="connsiteX1" y="connsiteY1"/>
                </a:cxn>
                <a:cxn ang="0">
                  <a:pos x="connsiteX2" y="connsiteY2"/>
                </a:cxn>
                <a:cxn ang="0">
                  <a:pos x="connsiteX3" y="connsiteY3"/>
                </a:cxn>
              </a:cxnLst>
              <a:rect l="l" t="t" r="r" b="b"/>
              <a:pathLst>
                <a:path w="5613621" h="5613621">
                  <a:moveTo>
                    <a:pt x="0" y="5613621"/>
                  </a:moveTo>
                  <a:lnTo>
                    <a:pt x="5613621" y="0"/>
                  </a:lnTo>
                  <a:lnTo>
                    <a:pt x="5613621" y="5613621"/>
                  </a:lnTo>
                  <a:lnTo>
                    <a:pt x="0" y="5613621"/>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grpSp>
      <p:sp>
        <p:nvSpPr>
          <p:cNvPr id="3" name="Title 2"/>
          <p:cNvSpPr>
            <a:spLocks noGrp="1"/>
          </p:cNvSpPr>
          <p:nvPr>
            <p:ph type="ctrTitle"/>
          </p:nvPr>
        </p:nvSpPr>
        <p:spPr>
          <a:xfrm>
            <a:off x="8161361" y="4556430"/>
            <a:ext cx="3234520" cy="984077"/>
          </a:xfrm>
        </p:spPr>
        <p:txBody>
          <a:bodyPr>
            <a:normAutofit fontScale="90000"/>
          </a:bodyPr>
          <a:lstStyle/>
          <a:p>
            <a:pPr algn="r"/>
            <a:r>
              <a:rPr lang="en-US" sz="3599">
                <a:solidFill>
                  <a:schemeClr val="bg1"/>
                </a:solidFill>
              </a:rPr>
              <a:t>Production methods</a:t>
            </a:r>
          </a:p>
        </p:txBody>
      </p:sp>
      <p:grpSp>
        <p:nvGrpSpPr>
          <p:cNvPr id="8" name="Group 7">
            <a:extLst>
              <a:ext uri="{FF2B5EF4-FFF2-40B4-BE49-F238E27FC236}">
                <a16:creationId xmlns:a16="http://schemas.microsoft.com/office/drawing/2014/main" id="{A9360C37-1C5C-4C2D-AD16-23978B050840}"/>
              </a:ext>
            </a:extLst>
          </p:cNvPr>
          <p:cNvGrpSpPr/>
          <p:nvPr/>
        </p:nvGrpSpPr>
        <p:grpSpPr>
          <a:xfrm>
            <a:off x="11248166" y="6140170"/>
            <a:ext cx="697906" cy="551833"/>
            <a:chOff x="9440863" y="5832475"/>
            <a:chExt cx="1092200" cy="863600"/>
          </a:xfrm>
        </p:grpSpPr>
        <p:sp>
          <p:nvSpPr>
            <p:cNvPr id="9" name="AutoShape 3">
              <a:extLst>
                <a:ext uri="{FF2B5EF4-FFF2-40B4-BE49-F238E27FC236}">
                  <a16:creationId xmlns:a16="http://schemas.microsoft.com/office/drawing/2014/main" id="{6EF11D5D-E156-4CBC-BD9C-449EC85EAEAD}"/>
                </a:ext>
              </a:extLst>
            </p:cNvPr>
            <p:cNvSpPr>
              <a:spLocks noChangeAspect="1" noChangeArrowheads="1" noTextEdit="1"/>
            </p:cNvSpPr>
            <p:nvPr/>
          </p:nvSpPr>
          <p:spPr bwMode="auto">
            <a:xfrm>
              <a:off x="9440863" y="5832475"/>
              <a:ext cx="109220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0" name="Freeform 5">
              <a:extLst>
                <a:ext uri="{FF2B5EF4-FFF2-40B4-BE49-F238E27FC236}">
                  <a16:creationId xmlns:a16="http://schemas.microsoft.com/office/drawing/2014/main" id="{CDDB7B7A-A8EE-4606-B44A-7BC160C8F68C}"/>
                </a:ext>
              </a:extLst>
            </p:cNvPr>
            <p:cNvSpPr>
              <a:spLocks/>
            </p:cNvSpPr>
            <p:nvPr/>
          </p:nvSpPr>
          <p:spPr bwMode="auto">
            <a:xfrm>
              <a:off x="9440863" y="5832475"/>
              <a:ext cx="1092200" cy="863600"/>
            </a:xfrm>
            <a:custGeom>
              <a:avLst/>
              <a:gdLst>
                <a:gd name="T0" fmla="*/ 130 w 688"/>
                <a:gd name="T1" fmla="*/ 544 h 544"/>
                <a:gd name="T2" fmla="*/ 116 w 688"/>
                <a:gd name="T3" fmla="*/ 544 h 544"/>
                <a:gd name="T4" fmla="*/ 90 w 688"/>
                <a:gd name="T5" fmla="*/ 538 h 544"/>
                <a:gd name="T6" fmla="*/ 68 w 688"/>
                <a:gd name="T7" fmla="*/ 528 h 544"/>
                <a:gd name="T8" fmla="*/ 38 w 688"/>
                <a:gd name="T9" fmla="*/ 506 h 544"/>
                <a:gd name="T10" fmla="*/ 16 w 688"/>
                <a:gd name="T11" fmla="*/ 476 h 544"/>
                <a:gd name="T12" fmla="*/ 6 w 688"/>
                <a:gd name="T13" fmla="*/ 454 h 544"/>
                <a:gd name="T14" fmla="*/ 0 w 688"/>
                <a:gd name="T15" fmla="*/ 428 h 544"/>
                <a:gd name="T16" fmla="*/ 0 w 688"/>
                <a:gd name="T17" fmla="*/ 130 h 544"/>
                <a:gd name="T18" fmla="*/ 0 w 688"/>
                <a:gd name="T19" fmla="*/ 116 h 544"/>
                <a:gd name="T20" fmla="*/ 6 w 688"/>
                <a:gd name="T21" fmla="*/ 92 h 544"/>
                <a:gd name="T22" fmla="*/ 16 w 688"/>
                <a:gd name="T23" fmla="*/ 68 h 544"/>
                <a:gd name="T24" fmla="*/ 38 w 688"/>
                <a:gd name="T25" fmla="*/ 38 h 544"/>
                <a:gd name="T26" fmla="*/ 68 w 688"/>
                <a:gd name="T27" fmla="*/ 16 h 544"/>
                <a:gd name="T28" fmla="*/ 90 w 688"/>
                <a:gd name="T29" fmla="*/ 6 h 544"/>
                <a:gd name="T30" fmla="*/ 116 w 688"/>
                <a:gd name="T31" fmla="*/ 0 h 544"/>
                <a:gd name="T32" fmla="*/ 558 w 688"/>
                <a:gd name="T33" fmla="*/ 0 h 544"/>
                <a:gd name="T34" fmla="*/ 572 w 688"/>
                <a:gd name="T35" fmla="*/ 0 h 544"/>
                <a:gd name="T36" fmla="*/ 596 w 688"/>
                <a:gd name="T37" fmla="*/ 6 h 544"/>
                <a:gd name="T38" fmla="*/ 620 w 688"/>
                <a:gd name="T39" fmla="*/ 16 h 544"/>
                <a:gd name="T40" fmla="*/ 650 w 688"/>
                <a:gd name="T41" fmla="*/ 38 h 544"/>
                <a:gd name="T42" fmla="*/ 672 w 688"/>
                <a:gd name="T43" fmla="*/ 68 h 544"/>
                <a:gd name="T44" fmla="*/ 682 w 688"/>
                <a:gd name="T45" fmla="*/ 92 h 544"/>
                <a:gd name="T46" fmla="*/ 688 w 688"/>
                <a:gd name="T47" fmla="*/ 116 h 544"/>
                <a:gd name="T48" fmla="*/ 688 w 688"/>
                <a:gd name="T49" fmla="*/ 414 h 544"/>
                <a:gd name="T50" fmla="*/ 688 w 688"/>
                <a:gd name="T51" fmla="*/ 428 h 544"/>
                <a:gd name="T52" fmla="*/ 682 w 688"/>
                <a:gd name="T53" fmla="*/ 454 h 544"/>
                <a:gd name="T54" fmla="*/ 672 w 688"/>
                <a:gd name="T55" fmla="*/ 476 h 544"/>
                <a:gd name="T56" fmla="*/ 650 w 688"/>
                <a:gd name="T57" fmla="*/ 506 h 544"/>
                <a:gd name="T58" fmla="*/ 620 w 688"/>
                <a:gd name="T59" fmla="*/ 528 h 544"/>
                <a:gd name="T60" fmla="*/ 596 w 688"/>
                <a:gd name="T61" fmla="*/ 538 h 544"/>
                <a:gd name="T62" fmla="*/ 572 w 688"/>
                <a:gd name="T63" fmla="*/ 544 h 544"/>
                <a:gd name="T64" fmla="*/ 558 w 688"/>
                <a:gd name="T65" fmla="*/ 544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8" h="544">
                  <a:moveTo>
                    <a:pt x="558" y="544"/>
                  </a:moveTo>
                  <a:lnTo>
                    <a:pt x="130" y="544"/>
                  </a:lnTo>
                  <a:lnTo>
                    <a:pt x="130" y="544"/>
                  </a:lnTo>
                  <a:lnTo>
                    <a:pt x="116" y="544"/>
                  </a:lnTo>
                  <a:lnTo>
                    <a:pt x="104" y="542"/>
                  </a:lnTo>
                  <a:lnTo>
                    <a:pt x="90" y="538"/>
                  </a:lnTo>
                  <a:lnTo>
                    <a:pt x="78" y="534"/>
                  </a:lnTo>
                  <a:lnTo>
                    <a:pt x="68" y="528"/>
                  </a:lnTo>
                  <a:lnTo>
                    <a:pt x="56" y="522"/>
                  </a:lnTo>
                  <a:lnTo>
                    <a:pt x="38" y="506"/>
                  </a:lnTo>
                  <a:lnTo>
                    <a:pt x="22" y="488"/>
                  </a:lnTo>
                  <a:lnTo>
                    <a:pt x="16" y="476"/>
                  </a:lnTo>
                  <a:lnTo>
                    <a:pt x="10" y="466"/>
                  </a:lnTo>
                  <a:lnTo>
                    <a:pt x="6" y="454"/>
                  </a:lnTo>
                  <a:lnTo>
                    <a:pt x="2" y="440"/>
                  </a:lnTo>
                  <a:lnTo>
                    <a:pt x="0" y="428"/>
                  </a:lnTo>
                  <a:lnTo>
                    <a:pt x="0" y="414"/>
                  </a:lnTo>
                  <a:lnTo>
                    <a:pt x="0" y="130"/>
                  </a:lnTo>
                  <a:lnTo>
                    <a:pt x="0" y="130"/>
                  </a:lnTo>
                  <a:lnTo>
                    <a:pt x="0" y="116"/>
                  </a:lnTo>
                  <a:lnTo>
                    <a:pt x="2" y="104"/>
                  </a:lnTo>
                  <a:lnTo>
                    <a:pt x="6" y="92"/>
                  </a:lnTo>
                  <a:lnTo>
                    <a:pt x="10" y="80"/>
                  </a:lnTo>
                  <a:lnTo>
                    <a:pt x="16" y="68"/>
                  </a:lnTo>
                  <a:lnTo>
                    <a:pt x="22" y="58"/>
                  </a:lnTo>
                  <a:lnTo>
                    <a:pt x="38" y="38"/>
                  </a:lnTo>
                  <a:lnTo>
                    <a:pt x="56" y="22"/>
                  </a:lnTo>
                  <a:lnTo>
                    <a:pt x="68" y="16"/>
                  </a:lnTo>
                  <a:lnTo>
                    <a:pt x="78" y="10"/>
                  </a:lnTo>
                  <a:lnTo>
                    <a:pt x="90" y="6"/>
                  </a:lnTo>
                  <a:lnTo>
                    <a:pt x="104" y="2"/>
                  </a:lnTo>
                  <a:lnTo>
                    <a:pt x="116" y="0"/>
                  </a:lnTo>
                  <a:lnTo>
                    <a:pt x="130" y="0"/>
                  </a:lnTo>
                  <a:lnTo>
                    <a:pt x="558" y="0"/>
                  </a:lnTo>
                  <a:lnTo>
                    <a:pt x="558" y="0"/>
                  </a:lnTo>
                  <a:lnTo>
                    <a:pt x="572" y="0"/>
                  </a:lnTo>
                  <a:lnTo>
                    <a:pt x="584" y="2"/>
                  </a:lnTo>
                  <a:lnTo>
                    <a:pt x="596" y="6"/>
                  </a:lnTo>
                  <a:lnTo>
                    <a:pt x="608" y="10"/>
                  </a:lnTo>
                  <a:lnTo>
                    <a:pt x="620" y="16"/>
                  </a:lnTo>
                  <a:lnTo>
                    <a:pt x="630" y="22"/>
                  </a:lnTo>
                  <a:lnTo>
                    <a:pt x="650" y="38"/>
                  </a:lnTo>
                  <a:lnTo>
                    <a:pt x="666" y="58"/>
                  </a:lnTo>
                  <a:lnTo>
                    <a:pt x="672" y="68"/>
                  </a:lnTo>
                  <a:lnTo>
                    <a:pt x="678" y="80"/>
                  </a:lnTo>
                  <a:lnTo>
                    <a:pt x="682" y="92"/>
                  </a:lnTo>
                  <a:lnTo>
                    <a:pt x="686" y="104"/>
                  </a:lnTo>
                  <a:lnTo>
                    <a:pt x="688" y="116"/>
                  </a:lnTo>
                  <a:lnTo>
                    <a:pt x="688" y="130"/>
                  </a:lnTo>
                  <a:lnTo>
                    <a:pt x="688" y="414"/>
                  </a:lnTo>
                  <a:lnTo>
                    <a:pt x="688" y="414"/>
                  </a:lnTo>
                  <a:lnTo>
                    <a:pt x="688" y="428"/>
                  </a:lnTo>
                  <a:lnTo>
                    <a:pt x="686" y="440"/>
                  </a:lnTo>
                  <a:lnTo>
                    <a:pt x="682" y="454"/>
                  </a:lnTo>
                  <a:lnTo>
                    <a:pt x="678" y="466"/>
                  </a:lnTo>
                  <a:lnTo>
                    <a:pt x="672" y="476"/>
                  </a:lnTo>
                  <a:lnTo>
                    <a:pt x="666" y="488"/>
                  </a:lnTo>
                  <a:lnTo>
                    <a:pt x="650" y="506"/>
                  </a:lnTo>
                  <a:lnTo>
                    <a:pt x="630" y="522"/>
                  </a:lnTo>
                  <a:lnTo>
                    <a:pt x="620" y="528"/>
                  </a:lnTo>
                  <a:lnTo>
                    <a:pt x="608" y="534"/>
                  </a:lnTo>
                  <a:lnTo>
                    <a:pt x="596" y="538"/>
                  </a:lnTo>
                  <a:lnTo>
                    <a:pt x="584" y="542"/>
                  </a:lnTo>
                  <a:lnTo>
                    <a:pt x="572" y="544"/>
                  </a:lnTo>
                  <a:lnTo>
                    <a:pt x="558" y="544"/>
                  </a:lnTo>
                  <a:lnTo>
                    <a:pt x="558" y="5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1" name="Freeform 6">
              <a:extLst>
                <a:ext uri="{FF2B5EF4-FFF2-40B4-BE49-F238E27FC236}">
                  <a16:creationId xmlns:a16="http://schemas.microsoft.com/office/drawing/2014/main" id="{74B431EA-9C67-45E4-B298-3830B15E829F}"/>
                </a:ext>
              </a:extLst>
            </p:cNvPr>
            <p:cNvSpPr>
              <a:spLocks/>
            </p:cNvSpPr>
            <p:nvPr/>
          </p:nvSpPr>
          <p:spPr bwMode="auto">
            <a:xfrm>
              <a:off x="9475788" y="5870575"/>
              <a:ext cx="1019175" cy="790575"/>
            </a:xfrm>
            <a:custGeom>
              <a:avLst/>
              <a:gdLst>
                <a:gd name="T0" fmla="*/ 536 w 642"/>
                <a:gd name="T1" fmla="*/ 498 h 498"/>
                <a:gd name="T2" fmla="*/ 108 w 642"/>
                <a:gd name="T3" fmla="*/ 498 h 498"/>
                <a:gd name="T4" fmla="*/ 108 w 642"/>
                <a:gd name="T5" fmla="*/ 498 h 498"/>
                <a:gd name="T6" fmla="*/ 86 w 642"/>
                <a:gd name="T7" fmla="*/ 496 h 498"/>
                <a:gd name="T8" fmla="*/ 66 w 642"/>
                <a:gd name="T9" fmla="*/ 490 h 498"/>
                <a:gd name="T10" fmla="*/ 48 w 642"/>
                <a:gd name="T11" fmla="*/ 480 h 498"/>
                <a:gd name="T12" fmla="*/ 32 w 642"/>
                <a:gd name="T13" fmla="*/ 466 h 498"/>
                <a:gd name="T14" fmla="*/ 18 w 642"/>
                <a:gd name="T15" fmla="*/ 450 h 498"/>
                <a:gd name="T16" fmla="*/ 8 w 642"/>
                <a:gd name="T17" fmla="*/ 432 h 498"/>
                <a:gd name="T18" fmla="*/ 2 w 642"/>
                <a:gd name="T19" fmla="*/ 412 h 498"/>
                <a:gd name="T20" fmla="*/ 0 w 642"/>
                <a:gd name="T21" fmla="*/ 390 h 498"/>
                <a:gd name="T22" fmla="*/ 0 w 642"/>
                <a:gd name="T23" fmla="*/ 106 h 498"/>
                <a:gd name="T24" fmla="*/ 0 w 642"/>
                <a:gd name="T25" fmla="*/ 106 h 498"/>
                <a:gd name="T26" fmla="*/ 2 w 642"/>
                <a:gd name="T27" fmla="*/ 84 h 498"/>
                <a:gd name="T28" fmla="*/ 8 w 642"/>
                <a:gd name="T29" fmla="*/ 64 h 498"/>
                <a:gd name="T30" fmla="*/ 18 w 642"/>
                <a:gd name="T31" fmla="*/ 46 h 498"/>
                <a:gd name="T32" fmla="*/ 32 w 642"/>
                <a:gd name="T33" fmla="*/ 30 h 498"/>
                <a:gd name="T34" fmla="*/ 48 w 642"/>
                <a:gd name="T35" fmla="*/ 18 h 498"/>
                <a:gd name="T36" fmla="*/ 66 w 642"/>
                <a:gd name="T37" fmla="*/ 8 h 498"/>
                <a:gd name="T38" fmla="*/ 86 w 642"/>
                <a:gd name="T39" fmla="*/ 2 h 498"/>
                <a:gd name="T40" fmla="*/ 108 w 642"/>
                <a:gd name="T41" fmla="*/ 0 h 498"/>
                <a:gd name="T42" fmla="*/ 536 w 642"/>
                <a:gd name="T43" fmla="*/ 0 h 498"/>
                <a:gd name="T44" fmla="*/ 536 w 642"/>
                <a:gd name="T45" fmla="*/ 0 h 498"/>
                <a:gd name="T46" fmla="*/ 558 w 642"/>
                <a:gd name="T47" fmla="*/ 2 h 498"/>
                <a:gd name="T48" fmla="*/ 578 w 642"/>
                <a:gd name="T49" fmla="*/ 8 h 498"/>
                <a:gd name="T50" fmla="*/ 596 w 642"/>
                <a:gd name="T51" fmla="*/ 18 h 498"/>
                <a:gd name="T52" fmla="*/ 612 w 642"/>
                <a:gd name="T53" fmla="*/ 30 h 498"/>
                <a:gd name="T54" fmla="*/ 624 w 642"/>
                <a:gd name="T55" fmla="*/ 46 h 498"/>
                <a:gd name="T56" fmla="*/ 634 w 642"/>
                <a:gd name="T57" fmla="*/ 64 h 498"/>
                <a:gd name="T58" fmla="*/ 640 w 642"/>
                <a:gd name="T59" fmla="*/ 84 h 498"/>
                <a:gd name="T60" fmla="*/ 642 w 642"/>
                <a:gd name="T61" fmla="*/ 106 h 498"/>
                <a:gd name="T62" fmla="*/ 642 w 642"/>
                <a:gd name="T63" fmla="*/ 390 h 498"/>
                <a:gd name="T64" fmla="*/ 642 w 642"/>
                <a:gd name="T65" fmla="*/ 390 h 498"/>
                <a:gd name="T66" fmla="*/ 640 w 642"/>
                <a:gd name="T67" fmla="*/ 412 h 498"/>
                <a:gd name="T68" fmla="*/ 634 w 642"/>
                <a:gd name="T69" fmla="*/ 432 h 498"/>
                <a:gd name="T70" fmla="*/ 624 w 642"/>
                <a:gd name="T71" fmla="*/ 450 h 498"/>
                <a:gd name="T72" fmla="*/ 612 w 642"/>
                <a:gd name="T73" fmla="*/ 466 h 498"/>
                <a:gd name="T74" fmla="*/ 596 w 642"/>
                <a:gd name="T75" fmla="*/ 480 h 498"/>
                <a:gd name="T76" fmla="*/ 578 w 642"/>
                <a:gd name="T77" fmla="*/ 490 h 498"/>
                <a:gd name="T78" fmla="*/ 558 w 642"/>
                <a:gd name="T79" fmla="*/ 496 h 498"/>
                <a:gd name="T80" fmla="*/ 536 w 642"/>
                <a:gd name="T81" fmla="*/ 498 h 498"/>
                <a:gd name="T82" fmla="*/ 536 w 642"/>
                <a:gd name="T83"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2" h="498">
                  <a:moveTo>
                    <a:pt x="536" y="498"/>
                  </a:moveTo>
                  <a:lnTo>
                    <a:pt x="108" y="498"/>
                  </a:lnTo>
                  <a:lnTo>
                    <a:pt x="108" y="498"/>
                  </a:lnTo>
                  <a:lnTo>
                    <a:pt x="86" y="496"/>
                  </a:lnTo>
                  <a:lnTo>
                    <a:pt x="66" y="490"/>
                  </a:lnTo>
                  <a:lnTo>
                    <a:pt x="48" y="480"/>
                  </a:lnTo>
                  <a:lnTo>
                    <a:pt x="32" y="466"/>
                  </a:lnTo>
                  <a:lnTo>
                    <a:pt x="18" y="450"/>
                  </a:lnTo>
                  <a:lnTo>
                    <a:pt x="8" y="432"/>
                  </a:lnTo>
                  <a:lnTo>
                    <a:pt x="2" y="412"/>
                  </a:lnTo>
                  <a:lnTo>
                    <a:pt x="0" y="390"/>
                  </a:lnTo>
                  <a:lnTo>
                    <a:pt x="0" y="106"/>
                  </a:lnTo>
                  <a:lnTo>
                    <a:pt x="0" y="106"/>
                  </a:lnTo>
                  <a:lnTo>
                    <a:pt x="2" y="84"/>
                  </a:lnTo>
                  <a:lnTo>
                    <a:pt x="8" y="64"/>
                  </a:lnTo>
                  <a:lnTo>
                    <a:pt x="18" y="46"/>
                  </a:lnTo>
                  <a:lnTo>
                    <a:pt x="32" y="30"/>
                  </a:lnTo>
                  <a:lnTo>
                    <a:pt x="48" y="18"/>
                  </a:lnTo>
                  <a:lnTo>
                    <a:pt x="66" y="8"/>
                  </a:lnTo>
                  <a:lnTo>
                    <a:pt x="86" y="2"/>
                  </a:lnTo>
                  <a:lnTo>
                    <a:pt x="108" y="0"/>
                  </a:lnTo>
                  <a:lnTo>
                    <a:pt x="536" y="0"/>
                  </a:lnTo>
                  <a:lnTo>
                    <a:pt x="536" y="0"/>
                  </a:lnTo>
                  <a:lnTo>
                    <a:pt x="558" y="2"/>
                  </a:lnTo>
                  <a:lnTo>
                    <a:pt x="578" y="8"/>
                  </a:lnTo>
                  <a:lnTo>
                    <a:pt x="596" y="18"/>
                  </a:lnTo>
                  <a:lnTo>
                    <a:pt x="612" y="30"/>
                  </a:lnTo>
                  <a:lnTo>
                    <a:pt x="624" y="46"/>
                  </a:lnTo>
                  <a:lnTo>
                    <a:pt x="634" y="64"/>
                  </a:lnTo>
                  <a:lnTo>
                    <a:pt x="640" y="84"/>
                  </a:lnTo>
                  <a:lnTo>
                    <a:pt x="642" y="106"/>
                  </a:lnTo>
                  <a:lnTo>
                    <a:pt x="642" y="390"/>
                  </a:lnTo>
                  <a:lnTo>
                    <a:pt x="642" y="390"/>
                  </a:lnTo>
                  <a:lnTo>
                    <a:pt x="640" y="412"/>
                  </a:lnTo>
                  <a:lnTo>
                    <a:pt x="634" y="432"/>
                  </a:lnTo>
                  <a:lnTo>
                    <a:pt x="624" y="450"/>
                  </a:lnTo>
                  <a:lnTo>
                    <a:pt x="612" y="466"/>
                  </a:lnTo>
                  <a:lnTo>
                    <a:pt x="596" y="480"/>
                  </a:lnTo>
                  <a:lnTo>
                    <a:pt x="578" y="490"/>
                  </a:lnTo>
                  <a:lnTo>
                    <a:pt x="558" y="496"/>
                  </a:lnTo>
                  <a:lnTo>
                    <a:pt x="536" y="498"/>
                  </a:lnTo>
                  <a:lnTo>
                    <a:pt x="536" y="498"/>
                  </a:lnTo>
                  <a:close/>
                </a:path>
              </a:pathLst>
            </a:custGeom>
            <a:solidFill>
              <a:srgbClr val="0078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2" name="Freeform 7">
              <a:extLst>
                <a:ext uri="{FF2B5EF4-FFF2-40B4-BE49-F238E27FC236}">
                  <a16:creationId xmlns:a16="http://schemas.microsoft.com/office/drawing/2014/main" id="{1404339F-FB6C-4B06-8713-A118396DD7B3}"/>
                </a:ext>
              </a:extLst>
            </p:cNvPr>
            <p:cNvSpPr>
              <a:spLocks noEditPoints="1"/>
            </p:cNvSpPr>
            <p:nvPr/>
          </p:nvSpPr>
          <p:spPr bwMode="auto">
            <a:xfrm>
              <a:off x="9523413" y="5940425"/>
              <a:ext cx="923925" cy="647700"/>
            </a:xfrm>
            <a:custGeom>
              <a:avLst/>
              <a:gdLst>
                <a:gd name="T0" fmla="*/ 530 w 582"/>
                <a:gd name="T1" fmla="*/ 115 h 408"/>
                <a:gd name="T2" fmla="*/ 582 w 582"/>
                <a:gd name="T3" fmla="*/ 135 h 408"/>
                <a:gd name="T4" fmla="*/ 538 w 582"/>
                <a:gd name="T5" fmla="*/ 75 h 408"/>
                <a:gd name="T6" fmla="*/ 476 w 582"/>
                <a:gd name="T7" fmla="*/ 83 h 408"/>
                <a:gd name="T8" fmla="*/ 439 w 582"/>
                <a:gd name="T9" fmla="*/ 105 h 408"/>
                <a:gd name="T10" fmla="*/ 421 w 582"/>
                <a:gd name="T11" fmla="*/ 129 h 408"/>
                <a:gd name="T12" fmla="*/ 411 w 582"/>
                <a:gd name="T13" fmla="*/ 64 h 408"/>
                <a:gd name="T14" fmla="*/ 375 w 582"/>
                <a:gd name="T15" fmla="*/ 18 h 408"/>
                <a:gd name="T16" fmla="*/ 303 w 582"/>
                <a:gd name="T17" fmla="*/ 2 h 408"/>
                <a:gd name="T18" fmla="*/ 173 w 582"/>
                <a:gd name="T19" fmla="*/ 0 h 408"/>
                <a:gd name="T20" fmla="*/ 165 w 582"/>
                <a:gd name="T21" fmla="*/ 105 h 408"/>
                <a:gd name="T22" fmla="*/ 125 w 582"/>
                <a:gd name="T23" fmla="*/ 81 h 408"/>
                <a:gd name="T24" fmla="*/ 48 w 582"/>
                <a:gd name="T25" fmla="*/ 77 h 408"/>
                <a:gd name="T26" fmla="*/ 78 w 582"/>
                <a:gd name="T27" fmla="*/ 331 h 408"/>
                <a:gd name="T28" fmla="*/ 58 w 582"/>
                <a:gd name="T29" fmla="*/ 299 h 408"/>
                <a:gd name="T30" fmla="*/ 94 w 582"/>
                <a:gd name="T31" fmla="*/ 255 h 408"/>
                <a:gd name="T32" fmla="*/ 129 w 582"/>
                <a:gd name="T33" fmla="*/ 249 h 408"/>
                <a:gd name="T34" fmla="*/ 167 w 582"/>
                <a:gd name="T35" fmla="*/ 217 h 408"/>
                <a:gd name="T36" fmla="*/ 265 w 582"/>
                <a:gd name="T37" fmla="*/ 408 h 408"/>
                <a:gd name="T38" fmla="*/ 245 w 582"/>
                <a:gd name="T39" fmla="*/ 376 h 408"/>
                <a:gd name="T40" fmla="*/ 295 w 582"/>
                <a:gd name="T41" fmla="*/ 277 h 408"/>
                <a:gd name="T42" fmla="*/ 345 w 582"/>
                <a:gd name="T43" fmla="*/ 269 h 408"/>
                <a:gd name="T44" fmla="*/ 395 w 582"/>
                <a:gd name="T45" fmla="*/ 231 h 408"/>
                <a:gd name="T46" fmla="*/ 409 w 582"/>
                <a:gd name="T47" fmla="*/ 249 h 408"/>
                <a:gd name="T48" fmla="*/ 439 w 582"/>
                <a:gd name="T49" fmla="*/ 307 h 408"/>
                <a:gd name="T50" fmla="*/ 486 w 582"/>
                <a:gd name="T51" fmla="*/ 329 h 408"/>
                <a:gd name="T52" fmla="*/ 536 w 582"/>
                <a:gd name="T53" fmla="*/ 333 h 408"/>
                <a:gd name="T54" fmla="*/ 512 w 582"/>
                <a:gd name="T55" fmla="*/ 205 h 408"/>
                <a:gd name="T56" fmla="*/ 530 w 582"/>
                <a:gd name="T57" fmla="*/ 225 h 408"/>
                <a:gd name="T58" fmla="*/ 520 w 582"/>
                <a:gd name="T59" fmla="*/ 293 h 408"/>
                <a:gd name="T60" fmla="*/ 482 w 582"/>
                <a:gd name="T61" fmla="*/ 277 h 408"/>
                <a:gd name="T62" fmla="*/ 470 w 582"/>
                <a:gd name="T63" fmla="*/ 241 h 408"/>
                <a:gd name="T64" fmla="*/ 470 w 582"/>
                <a:gd name="T65" fmla="*/ 163 h 408"/>
                <a:gd name="T66" fmla="*/ 504 w 582"/>
                <a:gd name="T67" fmla="*/ 121 h 408"/>
                <a:gd name="T68" fmla="*/ 84 w 582"/>
                <a:gd name="T69" fmla="*/ 221 h 408"/>
                <a:gd name="T70" fmla="*/ 58 w 582"/>
                <a:gd name="T71" fmla="*/ 121 h 408"/>
                <a:gd name="T72" fmla="*/ 66 w 582"/>
                <a:gd name="T73" fmla="*/ 109 h 408"/>
                <a:gd name="T74" fmla="*/ 92 w 582"/>
                <a:gd name="T75" fmla="*/ 107 h 408"/>
                <a:gd name="T76" fmla="*/ 121 w 582"/>
                <a:gd name="T77" fmla="*/ 141 h 408"/>
                <a:gd name="T78" fmla="*/ 118 w 582"/>
                <a:gd name="T79" fmla="*/ 193 h 408"/>
                <a:gd name="T80" fmla="*/ 96 w 582"/>
                <a:gd name="T81" fmla="*/ 219 h 408"/>
                <a:gd name="T82" fmla="*/ 291 w 582"/>
                <a:gd name="T83" fmla="*/ 229 h 408"/>
                <a:gd name="T84" fmla="*/ 245 w 582"/>
                <a:gd name="T85" fmla="*/ 217 h 408"/>
                <a:gd name="T86" fmla="*/ 249 w 582"/>
                <a:gd name="T87" fmla="*/ 56 h 408"/>
                <a:gd name="T88" fmla="*/ 273 w 582"/>
                <a:gd name="T89" fmla="*/ 42 h 408"/>
                <a:gd name="T90" fmla="*/ 317 w 582"/>
                <a:gd name="T91" fmla="*/ 48 h 408"/>
                <a:gd name="T92" fmla="*/ 341 w 582"/>
                <a:gd name="T93" fmla="*/ 75 h 408"/>
                <a:gd name="T94" fmla="*/ 351 w 582"/>
                <a:gd name="T95" fmla="*/ 131 h 408"/>
                <a:gd name="T96" fmla="*/ 335 w 582"/>
                <a:gd name="T97" fmla="*/ 201 h 408"/>
                <a:gd name="T98" fmla="*/ 299 w 582"/>
                <a:gd name="T99" fmla="*/ 22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2" h="408">
                  <a:moveTo>
                    <a:pt x="510" y="117"/>
                  </a:moveTo>
                  <a:lnTo>
                    <a:pt x="510" y="117"/>
                  </a:lnTo>
                  <a:lnTo>
                    <a:pt x="520" y="115"/>
                  </a:lnTo>
                  <a:lnTo>
                    <a:pt x="530" y="115"/>
                  </a:lnTo>
                  <a:lnTo>
                    <a:pt x="540" y="115"/>
                  </a:lnTo>
                  <a:lnTo>
                    <a:pt x="548" y="117"/>
                  </a:lnTo>
                  <a:lnTo>
                    <a:pt x="566" y="125"/>
                  </a:lnTo>
                  <a:lnTo>
                    <a:pt x="582" y="135"/>
                  </a:lnTo>
                  <a:lnTo>
                    <a:pt x="582" y="81"/>
                  </a:lnTo>
                  <a:lnTo>
                    <a:pt x="582" y="81"/>
                  </a:lnTo>
                  <a:lnTo>
                    <a:pt x="560" y="77"/>
                  </a:lnTo>
                  <a:lnTo>
                    <a:pt x="538" y="75"/>
                  </a:lnTo>
                  <a:lnTo>
                    <a:pt x="520" y="75"/>
                  </a:lnTo>
                  <a:lnTo>
                    <a:pt x="504" y="77"/>
                  </a:lnTo>
                  <a:lnTo>
                    <a:pt x="490" y="79"/>
                  </a:lnTo>
                  <a:lnTo>
                    <a:pt x="476" y="83"/>
                  </a:lnTo>
                  <a:lnTo>
                    <a:pt x="463" y="87"/>
                  </a:lnTo>
                  <a:lnTo>
                    <a:pt x="453" y="93"/>
                  </a:lnTo>
                  <a:lnTo>
                    <a:pt x="453" y="93"/>
                  </a:lnTo>
                  <a:lnTo>
                    <a:pt x="439" y="105"/>
                  </a:lnTo>
                  <a:lnTo>
                    <a:pt x="429" y="115"/>
                  </a:lnTo>
                  <a:lnTo>
                    <a:pt x="423" y="127"/>
                  </a:lnTo>
                  <a:lnTo>
                    <a:pt x="423" y="127"/>
                  </a:lnTo>
                  <a:lnTo>
                    <a:pt x="421" y="129"/>
                  </a:lnTo>
                  <a:lnTo>
                    <a:pt x="421" y="129"/>
                  </a:lnTo>
                  <a:lnTo>
                    <a:pt x="419" y="105"/>
                  </a:lnTo>
                  <a:lnTo>
                    <a:pt x="417" y="83"/>
                  </a:lnTo>
                  <a:lnTo>
                    <a:pt x="411" y="64"/>
                  </a:lnTo>
                  <a:lnTo>
                    <a:pt x="405" y="50"/>
                  </a:lnTo>
                  <a:lnTo>
                    <a:pt x="395" y="36"/>
                  </a:lnTo>
                  <a:lnTo>
                    <a:pt x="387" y="26"/>
                  </a:lnTo>
                  <a:lnTo>
                    <a:pt x="375" y="18"/>
                  </a:lnTo>
                  <a:lnTo>
                    <a:pt x="363" y="12"/>
                  </a:lnTo>
                  <a:lnTo>
                    <a:pt x="349" y="8"/>
                  </a:lnTo>
                  <a:lnTo>
                    <a:pt x="335" y="4"/>
                  </a:lnTo>
                  <a:lnTo>
                    <a:pt x="303" y="2"/>
                  </a:lnTo>
                  <a:lnTo>
                    <a:pt x="267" y="0"/>
                  </a:lnTo>
                  <a:lnTo>
                    <a:pt x="231" y="0"/>
                  </a:lnTo>
                  <a:lnTo>
                    <a:pt x="231" y="0"/>
                  </a:lnTo>
                  <a:lnTo>
                    <a:pt x="173" y="0"/>
                  </a:lnTo>
                  <a:lnTo>
                    <a:pt x="173" y="121"/>
                  </a:lnTo>
                  <a:lnTo>
                    <a:pt x="173" y="121"/>
                  </a:lnTo>
                  <a:lnTo>
                    <a:pt x="169" y="113"/>
                  </a:lnTo>
                  <a:lnTo>
                    <a:pt x="165" y="105"/>
                  </a:lnTo>
                  <a:lnTo>
                    <a:pt x="161" y="99"/>
                  </a:lnTo>
                  <a:lnTo>
                    <a:pt x="155" y="95"/>
                  </a:lnTo>
                  <a:lnTo>
                    <a:pt x="141" y="87"/>
                  </a:lnTo>
                  <a:lnTo>
                    <a:pt x="125" y="81"/>
                  </a:lnTo>
                  <a:lnTo>
                    <a:pt x="108" y="79"/>
                  </a:lnTo>
                  <a:lnTo>
                    <a:pt x="88" y="77"/>
                  </a:lnTo>
                  <a:lnTo>
                    <a:pt x="48" y="77"/>
                  </a:lnTo>
                  <a:lnTo>
                    <a:pt x="48" y="77"/>
                  </a:lnTo>
                  <a:lnTo>
                    <a:pt x="0" y="77"/>
                  </a:lnTo>
                  <a:lnTo>
                    <a:pt x="0" y="331"/>
                  </a:lnTo>
                  <a:lnTo>
                    <a:pt x="78" y="331"/>
                  </a:lnTo>
                  <a:lnTo>
                    <a:pt x="78" y="331"/>
                  </a:lnTo>
                  <a:lnTo>
                    <a:pt x="70" y="327"/>
                  </a:lnTo>
                  <a:lnTo>
                    <a:pt x="64" y="319"/>
                  </a:lnTo>
                  <a:lnTo>
                    <a:pt x="60" y="311"/>
                  </a:lnTo>
                  <a:lnTo>
                    <a:pt x="58" y="299"/>
                  </a:lnTo>
                  <a:lnTo>
                    <a:pt x="58" y="229"/>
                  </a:lnTo>
                  <a:lnTo>
                    <a:pt x="80" y="253"/>
                  </a:lnTo>
                  <a:lnTo>
                    <a:pt x="80" y="253"/>
                  </a:lnTo>
                  <a:lnTo>
                    <a:pt x="94" y="255"/>
                  </a:lnTo>
                  <a:lnTo>
                    <a:pt x="98" y="255"/>
                  </a:lnTo>
                  <a:lnTo>
                    <a:pt x="98" y="255"/>
                  </a:lnTo>
                  <a:lnTo>
                    <a:pt x="118" y="251"/>
                  </a:lnTo>
                  <a:lnTo>
                    <a:pt x="129" y="249"/>
                  </a:lnTo>
                  <a:lnTo>
                    <a:pt x="139" y="243"/>
                  </a:lnTo>
                  <a:lnTo>
                    <a:pt x="149" y="237"/>
                  </a:lnTo>
                  <a:lnTo>
                    <a:pt x="159" y="229"/>
                  </a:lnTo>
                  <a:lnTo>
                    <a:pt x="167" y="217"/>
                  </a:lnTo>
                  <a:lnTo>
                    <a:pt x="173" y="201"/>
                  </a:lnTo>
                  <a:lnTo>
                    <a:pt x="173" y="408"/>
                  </a:lnTo>
                  <a:lnTo>
                    <a:pt x="265" y="408"/>
                  </a:lnTo>
                  <a:lnTo>
                    <a:pt x="265" y="408"/>
                  </a:lnTo>
                  <a:lnTo>
                    <a:pt x="257" y="404"/>
                  </a:lnTo>
                  <a:lnTo>
                    <a:pt x="251" y="396"/>
                  </a:lnTo>
                  <a:lnTo>
                    <a:pt x="247" y="388"/>
                  </a:lnTo>
                  <a:lnTo>
                    <a:pt x="245" y="376"/>
                  </a:lnTo>
                  <a:lnTo>
                    <a:pt x="245" y="237"/>
                  </a:lnTo>
                  <a:lnTo>
                    <a:pt x="281" y="273"/>
                  </a:lnTo>
                  <a:lnTo>
                    <a:pt x="281" y="273"/>
                  </a:lnTo>
                  <a:lnTo>
                    <a:pt x="295" y="277"/>
                  </a:lnTo>
                  <a:lnTo>
                    <a:pt x="309" y="277"/>
                  </a:lnTo>
                  <a:lnTo>
                    <a:pt x="309" y="277"/>
                  </a:lnTo>
                  <a:lnTo>
                    <a:pt x="333" y="273"/>
                  </a:lnTo>
                  <a:lnTo>
                    <a:pt x="345" y="269"/>
                  </a:lnTo>
                  <a:lnTo>
                    <a:pt x="359" y="263"/>
                  </a:lnTo>
                  <a:lnTo>
                    <a:pt x="371" y="255"/>
                  </a:lnTo>
                  <a:lnTo>
                    <a:pt x="385" y="245"/>
                  </a:lnTo>
                  <a:lnTo>
                    <a:pt x="395" y="231"/>
                  </a:lnTo>
                  <a:lnTo>
                    <a:pt x="405" y="215"/>
                  </a:lnTo>
                  <a:lnTo>
                    <a:pt x="405" y="215"/>
                  </a:lnTo>
                  <a:lnTo>
                    <a:pt x="407" y="233"/>
                  </a:lnTo>
                  <a:lnTo>
                    <a:pt x="409" y="249"/>
                  </a:lnTo>
                  <a:lnTo>
                    <a:pt x="415" y="265"/>
                  </a:lnTo>
                  <a:lnTo>
                    <a:pt x="421" y="281"/>
                  </a:lnTo>
                  <a:lnTo>
                    <a:pt x="429" y="293"/>
                  </a:lnTo>
                  <a:lnTo>
                    <a:pt x="439" y="307"/>
                  </a:lnTo>
                  <a:lnTo>
                    <a:pt x="453" y="317"/>
                  </a:lnTo>
                  <a:lnTo>
                    <a:pt x="470" y="325"/>
                  </a:lnTo>
                  <a:lnTo>
                    <a:pt x="470" y="325"/>
                  </a:lnTo>
                  <a:lnTo>
                    <a:pt x="486" y="329"/>
                  </a:lnTo>
                  <a:lnTo>
                    <a:pt x="502" y="333"/>
                  </a:lnTo>
                  <a:lnTo>
                    <a:pt x="518" y="333"/>
                  </a:lnTo>
                  <a:lnTo>
                    <a:pt x="536" y="333"/>
                  </a:lnTo>
                  <a:lnTo>
                    <a:pt x="536" y="333"/>
                  </a:lnTo>
                  <a:lnTo>
                    <a:pt x="560" y="331"/>
                  </a:lnTo>
                  <a:lnTo>
                    <a:pt x="582" y="329"/>
                  </a:lnTo>
                  <a:lnTo>
                    <a:pt x="582" y="203"/>
                  </a:lnTo>
                  <a:lnTo>
                    <a:pt x="512" y="205"/>
                  </a:lnTo>
                  <a:lnTo>
                    <a:pt x="512" y="205"/>
                  </a:lnTo>
                  <a:lnTo>
                    <a:pt x="522" y="209"/>
                  </a:lnTo>
                  <a:lnTo>
                    <a:pt x="528" y="215"/>
                  </a:lnTo>
                  <a:lnTo>
                    <a:pt x="530" y="225"/>
                  </a:lnTo>
                  <a:lnTo>
                    <a:pt x="532" y="235"/>
                  </a:lnTo>
                  <a:lnTo>
                    <a:pt x="532" y="291"/>
                  </a:lnTo>
                  <a:lnTo>
                    <a:pt x="532" y="291"/>
                  </a:lnTo>
                  <a:lnTo>
                    <a:pt x="520" y="293"/>
                  </a:lnTo>
                  <a:lnTo>
                    <a:pt x="506" y="291"/>
                  </a:lnTo>
                  <a:lnTo>
                    <a:pt x="492" y="287"/>
                  </a:lnTo>
                  <a:lnTo>
                    <a:pt x="488" y="281"/>
                  </a:lnTo>
                  <a:lnTo>
                    <a:pt x="482" y="277"/>
                  </a:lnTo>
                  <a:lnTo>
                    <a:pt x="482" y="277"/>
                  </a:lnTo>
                  <a:lnTo>
                    <a:pt x="478" y="267"/>
                  </a:lnTo>
                  <a:lnTo>
                    <a:pt x="474" y="255"/>
                  </a:lnTo>
                  <a:lnTo>
                    <a:pt x="470" y="241"/>
                  </a:lnTo>
                  <a:lnTo>
                    <a:pt x="468" y="227"/>
                  </a:lnTo>
                  <a:lnTo>
                    <a:pt x="468" y="195"/>
                  </a:lnTo>
                  <a:lnTo>
                    <a:pt x="470" y="163"/>
                  </a:lnTo>
                  <a:lnTo>
                    <a:pt x="470" y="163"/>
                  </a:lnTo>
                  <a:lnTo>
                    <a:pt x="476" y="149"/>
                  </a:lnTo>
                  <a:lnTo>
                    <a:pt x="484" y="135"/>
                  </a:lnTo>
                  <a:lnTo>
                    <a:pt x="496" y="125"/>
                  </a:lnTo>
                  <a:lnTo>
                    <a:pt x="504" y="121"/>
                  </a:lnTo>
                  <a:lnTo>
                    <a:pt x="510" y="117"/>
                  </a:lnTo>
                  <a:lnTo>
                    <a:pt x="510" y="117"/>
                  </a:lnTo>
                  <a:close/>
                  <a:moveTo>
                    <a:pt x="84" y="221"/>
                  </a:moveTo>
                  <a:lnTo>
                    <a:pt x="84" y="221"/>
                  </a:lnTo>
                  <a:lnTo>
                    <a:pt x="72" y="219"/>
                  </a:lnTo>
                  <a:lnTo>
                    <a:pt x="64" y="217"/>
                  </a:lnTo>
                  <a:lnTo>
                    <a:pt x="58" y="211"/>
                  </a:lnTo>
                  <a:lnTo>
                    <a:pt x="58" y="121"/>
                  </a:lnTo>
                  <a:lnTo>
                    <a:pt x="58" y="121"/>
                  </a:lnTo>
                  <a:lnTo>
                    <a:pt x="60" y="115"/>
                  </a:lnTo>
                  <a:lnTo>
                    <a:pt x="62" y="111"/>
                  </a:lnTo>
                  <a:lnTo>
                    <a:pt x="66" y="109"/>
                  </a:lnTo>
                  <a:lnTo>
                    <a:pt x="72" y="107"/>
                  </a:lnTo>
                  <a:lnTo>
                    <a:pt x="72" y="107"/>
                  </a:lnTo>
                  <a:lnTo>
                    <a:pt x="84" y="105"/>
                  </a:lnTo>
                  <a:lnTo>
                    <a:pt x="92" y="107"/>
                  </a:lnTo>
                  <a:lnTo>
                    <a:pt x="100" y="111"/>
                  </a:lnTo>
                  <a:lnTo>
                    <a:pt x="110" y="117"/>
                  </a:lnTo>
                  <a:lnTo>
                    <a:pt x="116" y="125"/>
                  </a:lnTo>
                  <a:lnTo>
                    <a:pt x="121" y="141"/>
                  </a:lnTo>
                  <a:lnTo>
                    <a:pt x="123" y="161"/>
                  </a:lnTo>
                  <a:lnTo>
                    <a:pt x="123" y="161"/>
                  </a:lnTo>
                  <a:lnTo>
                    <a:pt x="123" y="179"/>
                  </a:lnTo>
                  <a:lnTo>
                    <a:pt x="118" y="193"/>
                  </a:lnTo>
                  <a:lnTo>
                    <a:pt x="114" y="205"/>
                  </a:lnTo>
                  <a:lnTo>
                    <a:pt x="108" y="211"/>
                  </a:lnTo>
                  <a:lnTo>
                    <a:pt x="102" y="217"/>
                  </a:lnTo>
                  <a:lnTo>
                    <a:pt x="96" y="219"/>
                  </a:lnTo>
                  <a:lnTo>
                    <a:pt x="84" y="221"/>
                  </a:lnTo>
                  <a:lnTo>
                    <a:pt x="84" y="221"/>
                  </a:lnTo>
                  <a:close/>
                  <a:moveTo>
                    <a:pt x="291" y="229"/>
                  </a:moveTo>
                  <a:lnTo>
                    <a:pt x="291" y="229"/>
                  </a:lnTo>
                  <a:lnTo>
                    <a:pt x="273" y="227"/>
                  </a:lnTo>
                  <a:lnTo>
                    <a:pt x="259" y="223"/>
                  </a:lnTo>
                  <a:lnTo>
                    <a:pt x="249" y="219"/>
                  </a:lnTo>
                  <a:lnTo>
                    <a:pt x="245" y="217"/>
                  </a:lnTo>
                  <a:lnTo>
                    <a:pt x="245" y="64"/>
                  </a:lnTo>
                  <a:lnTo>
                    <a:pt x="245" y="64"/>
                  </a:lnTo>
                  <a:lnTo>
                    <a:pt x="247" y="60"/>
                  </a:lnTo>
                  <a:lnTo>
                    <a:pt x="249" y="56"/>
                  </a:lnTo>
                  <a:lnTo>
                    <a:pt x="255" y="48"/>
                  </a:lnTo>
                  <a:lnTo>
                    <a:pt x="263" y="44"/>
                  </a:lnTo>
                  <a:lnTo>
                    <a:pt x="273" y="42"/>
                  </a:lnTo>
                  <a:lnTo>
                    <a:pt x="273" y="42"/>
                  </a:lnTo>
                  <a:lnTo>
                    <a:pt x="281" y="40"/>
                  </a:lnTo>
                  <a:lnTo>
                    <a:pt x="291" y="40"/>
                  </a:lnTo>
                  <a:lnTo>
                    <a:pt x="303" y="42"/>
                  </a:lnTo>
                  <a:lnTo>
                    <a:pt x="317" y="48"/>
                  </a:lnTo>
                  <a:lnTo>
                    <a:pt x="323" y="52"/>
                  </a:lnTo>
                  <a:lnTo>
                    <a:pt x="329" y="58"/>
                  </a:lnTo>
                  <a:lnTo>
                    <a:pt x="335" y="64"/>
                  </a:lnTo>
                  <a:lnTo>
                    <a:pt x="341" y="75"/>
                  </a:lnTo>
                  <a:lnTo>
                    <a:pt x="345" y="85"/>
                  </a:lnTo>
                  <a:lnTo>
                    <a:pt x="347" y="97"/>
                  </a:lnTo>
                  <a:lnTo>
                    <a:pt x="349" y="113"/>
                  </a:lnTo>
                  <a:lnTo>
                    <a:pt x="351" y="131"/>
                  </a:lnTo>
                  <a:lnTo>
                    <a:pt x="351" y="131"/>
                  </a:lnTo>
                  <a:lnTo>
                    <a:pt x="349" y="159"/>
                  </a:lnTo>
                  <a:lnTo>
                    <a:pt x="343" y="183"/>
                  </a:lnTo>
                  <a:lnTo>
                    <a:pt x="335" y="201"/>
                  </a:lnTo>
                  <a:lnTo>
                    <a:pt x="327" y="213"/>
                  </a:lnTo>
                  <a:lnTo>
                    <a:pt x="317" y="221"/>
                  </a:lnTo>
                  <a:lnTo>
                    <a:pt x="307" y="227"/>
                  </a:lnTo>
                  <a:lnTo>
                    <a:pt x="299" y="229"/>
                  </a:lnTo>
                  <a:lnTo>
                    <a:pt x="291" y="229"/>
                  </a:lnTo>
                  <a:lnTo>
                    <a:pt x="291" y="2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grpSp>
    </p:spTree>
    <p:extLst>
      <p:ext uri="{BB962C8B-B14F-4D97-AF65-F5344CB8AC3E}">
        <p14:creationId xmlns:p14="http://schemas.microsoft.com/office/powerpoint/2010/main" val="40928666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_qdXvWUS9Wix8nJPqHt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4_qdXvWUS9Wix8nJPqHtaQ"/>
</p:tagLst>
</file>

<file path=ppt/theme/theme1.xml><?xml version="1.0" encoding="utf-8"?>
<a:theme xmlns:a="http://schemas.openxmlformats.org/drawingml/2006/main" name="Master slide">
  <a:themeElements>
    <a:clrScheme name="PPG 2">
      <a:dk1>
        <a:sysClr val="windowText" lastClr="000000"/>
      </a:dk1>
      <a:lt1>
        <a:sysClr val="window" lastClr="FFFFFF"/>
      </a:lt1>
      <a:dk2>
        <a:srgbClr val="666666"/>
      </a:dk2>
      <a:lt2>
        <a:srgbClr val="FFFFFF"/>
      </a:lt2>
      <a:accent1>
        <a:srgbClr val="0078A9"/>
      </a:accent1>
      <a:accent2>
        <a:srgbClr val="3EC7F4"/>
      </a:accent2>
      <a:accent3>
        <a:srgbClr val="0033A0"/>
      </a:accent3>
      <a:accent4>
        <a:srgbClr val="00B149"/>
      </a:accent4>
      <a:accent5>
        <a:srgbClr val="D0006F"/>
      </a:accent5>
      <a:accent6>
        <a:srgbClr val="FF7C13"/>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G Widescreen Template_11-08-17.pptx" id="{0199AC34-CE77-4224-AB6C-DE67587FAE49}" vid="{D3BFD4E8-924D-4011-BFB0-A12F02ED353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aster slide">
  <a:themeElements>
    <a:clrScheme name="PPG 2">
      <a:dk1>
        <a:sysClr val="windowText" lastClr="000000"/>
      </a:dk1>
      <a:lt1>
        <a:sysClr val="window" lastClr="FFFFFF"/>
      </a:lt1>
      <a:dk2>
        <a:srgbClr val="666666"/>
      </a:dk2>
      <a:lt2>
        <a:srgbClr val="FFFFFF"/>
      </a:lt2>
      <a:accent1>
        <a:srgbClr val="0078A9"/>
      </a:accent1>
      <a:accent2>
        <a:srgbClr val="3EC7F4"/>
      </a:accent2>
      <a:accent3>
        <a:srgbClr val="0033A0"/>
      </a:accent3>
      <a:accent4>
        <a:srgbClr val="00B149"/>
      </a:accent4>
      <a:accent5>
        <a:srgbClr val="D0006F"/>
      </a:accent5>
      <a:accent6>
        <a:srgbClr val="FF7C13"/>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757ADE1C5FBF34EBB229A3D7F69ECEB" ma:contentTypeVersion="16" ma:contentTypeDescription="Create a new document." ma:contentTypeScope="" ma:versionID="207ee94ce91c2010878de2f5b83c8e24">
  <xsd:schema xmlns:xsd="http://www.w3.org/2001/XMLSchema" xmlns:xs="http://www.w3.org/2001/XMLSchema" xmlns:p="http://schemas.microsoft.com/office/2006/metadata/properties" xmlns:ns2="f9010dbe-6a6a-4945-8ec8-13c943bbaa63" xmlns:ns3="b5df801a-0615-476a-b4f6-75da6047a58a" targetNamespace="http://schemas.microsoft.com/office/2006/metadata/properties" ma:root="true" ma:fieldsID="fbade1eed103c46cb371d4ac8eff5089" ns2:_="" ns3:_="">
    <xsd:import namespace="f9010dbe-6a6a-4945-8ec8-13c943bbaa63"/>
    <xsd:import namespace="b5df801a-0615-476a-b4f6-75da6047a58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OCR" minOccurs="0"/>
                <xsd:element ref="ns3:MediaServiceObjectDetectorVersions"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010dbe-6a6a-4945-8ec8-13c943bbaa6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a5cbf559-f194-4012-b975-e2049908e42e}" ma:internalName="TaxCatchAll" ma:showField="CatchAllData" ma:web="f9010dbe-6a6a-4945-8ec8-13c943bbaa6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5df801a-0615-476a-b4f6-75da6047a58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62fd6493-12f4-40ee-a142-2575533147fe"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5df801a-0615-476a-b4f6-75da6047a58a">
      <Terms xmlns="http://schemas.microsoft.com/office/infopath/2007/PartnerControls"/>
    </lcf76f155ced4ddcb4097134ff3c332f>
    <TaxCatchAll xmlns="f9010dbe-6a6a-4945-8ec8-13c943bbaa63" xsi:nil="true"/>
  </documentManagement>
</p:properties>
</file>

<file path=customXml/itemProps1.xml><?xml version="1.0" encoding="utf-8"?>
<ds:datastoreItem xmlns:ds="http://schemas.openxmlformats.org/officeDocument/2006/customXml" ds:itemID="{7B0874F9-B95E-4A12-9EAF-03D72AC13EEE}">
  <ds:schemaRefs>
    <ds:schemaRef ds:uri="http://schemas.microsoft.com/sharepoint/v3/contenttype/forms"/>
  </ds:schemaRefs>
</ds:datastoreItem>
</file>

<file path=customXml/itemProps2.xml><?xml version="1.0" encoding="utf-8"?>
<ds:datastoreItem xmlns:ds="http://schemas.openxmlformats.org/officeDocument/2006/customXml" ds:itemID="{1C5914A9-6720-4D6F-88B4-97CB78FC5762}"/>
</file>

<file path=customXml/itemProps3.xml><?xml version="1.0" encoding="utf-8"?>
<ds:datastoreItem xmlns:ds="http://schemas.openxmlformats.org/officeDocument/2006/customXml" ds:itemID="{17E3CEEB-AC84-49E4-B6E1-0C93070890D5}">
  <ds:schemaRefs>
    <ds:schemaRef ds:uri="b5df801a-0615-476a-b4f6-75da6047a58a"/>
    <ds:schemaRef ds:uri="f9010dbe-6a6a-4945-8ec8-13c943bbaa6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G Widescreen Template_11-08-17</Template>
  <Application>Microsoft Office PowerPoint</Application>
  <PresentationFormat>Custom</PresentationFormat>
  <Slides>37</Slides>
  <Notes>24</Notes>
  <HiddenSlides>0</HiddenSlides>
  <ScaleCrop>false</ScaleCrop>
  <HeadingPairs>
    <vt:vector size="4" baseType="variant">
      <vt:variant>
        <vt:lpstr>Theme</vt:lpstr>
      </vt:variant>
      <vt:variant>
        <vt:i4>3</vt:i4>
      </vt:variant>
      <vt:variant>
        <vt:lpstr>Slide Titles</vt:lpstr>
      </vt:variant>
      <vt:variant>
        <vt:i4>37</vt:i4>
      </vt:variant>
    </vt:vector>
  </HeadingPairs>
  <TitlesOfParts>
    <vt:vector size="40" baseType="lpstr">
      <vt:lpstr>Master slide</vt:lpstr>
      <vt:lpstr>Custom Design</vt:lpstr>
      <vt:lpstr>Master slide</vt:lpstr>
      <vt:lpstr>WELCOME TO PPG’S  Product Knowledge University 201: Application and Equipment</vt:lpstr>
      <vt:lpstr>Welcome</vt:lpstr>
      <vt:lpstr>Today’s agenda </vt:lpstr>
      <vt:lpstr>PKU Panel</vt:lpstr>
      <vt:lpstr>The three keys to proper application</vt:lpstr>
      <vt:lpstr>Surface preparation</vt:lpstr>
      <vt:lpstr>Dry film thickness (DFT)</vt:lpstr>
      <vt:lpstr>The curing step</vt:lpstr>
      <vt:lpstr>Production methods</vt:lpstr>
      <vt:lpstr>Production methods for cookware </vt:lpstr>
      <vt:lpstr>Spray application of a multi-coat system</vt:lpstr>
      <vt:lpstr>Typical spray  application</vt:lpstr>
      <vt:lpstr>Spray application for interior and exterior</vt:lpstr>
      <vt:lpstr>Roller coating application of a multi-coat system</vt:lpstr>
      <vt:lpstr>Roller coating production method</vt:lpstr>
      <vt:lpstr>PowerPoint Presentation</vt:lpstr>
      <vt:lpstr>Comparison of production methods</vt:lpstr>
      <vt:lpstr>Production methods for bakeware</vt:lpstr>
      <vt:lpstr>Electrostatic application</vt:lpstr>
      <vt:lpstr>Electrostatic application</vt:lpstr>
      <vt:lpstr>Coil coating production method</vt:lpstr>
      <vt:lpstr>Coil Coating application</vt:lpstr>
      <vt:lpstr>Substrates and impact on application</vt:lpstr>
      <vt:lpstr>Main substrates for coated housewar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blem- solving chart</vt:lpstr>
      <vt:lpstr>Common problems and possible solutions</vt:lpstr>
      <vt:lpstr>Quality Cooperative Program (QCP) </vt:lpstr>
      <vt:lpstr>Quality Cooperative Program (QCP)</vt:lpstr>
      <vt:lpstr>PowerPoint Presentation</vt:lpstr>
      <vt:lpstr>PowerPoint Presentation</vt:lpstr>
    </vt:vector>
  </TitlesOfParts>
  <Company>PPG Industri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ustrial Coatings from PPG</dc:title>
  <dc:creator>Mike Petrasek</dc:creator>
  <cp:revision>1</cp:revision>
  <cp:lastPrinted>2018-12-21T18:33:10Z</cp:lastPrinted>
  <dcterms:created xsi:type="dcterms:W3CDTF">2018-12-21T16:24:58Z</dcterms:created>
  <dcterms:modified xsi:type="dcterms:W3CDTF">2025-11-13T16:5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757ADE1C5FBF34EBB229A3D7F69ECEB</vt:lpwstr>
  </property>
</Properties>
</file>